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69" r:id="rId3"/>
    <p:sldId id="309" r:id="rId4"/>
    <p:sldId id="273" r:id="rId5"/>
    <p:sldId id="305" r:id="rId6"/>
    <p:sldId id="306" r:id="rId7"/>
    <p:sldId id="313" r:id="rId8"/>
    <p:sldId id="307" r:id="rId9"/>
    <p:sldId id="315" r:id="rId10"/>
    <p:sldId id="317" r:id="rId11"/>
    <p:sldId id="316" r:id="rId12"/>
    <p:sldId id="312" r:id="rId13"/>
    <p:sldId id="311" r:id="rId14"/>
    <p:sldId id="318" r:id="rId15"/>
    <p:sldId id="319" r:id="rId16"/>
    <p:sldId id="320" r:id="rId17"/>
    <p:sldId id="323" r:id="rId18"/>
    <p:sldId id="322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长轲 杨" initials="长杨" lastIdx="1" clrIdx="0">
    <p:extLst>
      <p:ext uri="{19B8F6BF-5375-455C-9EA6-DF929625EA0E}">
        <p15:presenceInfo xmlns:p15="http://schemas.microsoft.com/office/powerpoint/2012/main" userId="afa616b19c81de4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7"/>
    <a:srgbClr val="F08300"/>
    <a:srgbClr val="001736"/>
    <a:srgbClr val="041A34"/>
    <a:srgbClr val="003478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04" autoAdjust="0"/>
    <p:restoredTop sz="96182" autoAdjust="0"/>
  </p:normalViewPr>
  <p:slideViewPr>
    <p:cSldViewPr snapToGrid="0">
      <p:cViewPr varScale="1">
        <p:scale>
          <a:sx n="94" d="100"/>
          <a:sy n="94" d="100"/>
        </p:scale>
        <p:origin x="101" y="5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91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实际延迟时间平均值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mbassy_preempt</c:v>
                </c:pt>
                <c:pt idx="1">
                  <c:v>ucosii</c:v>
                </c:pt>
                <c:pt idx="2">
                  <c:v>embassy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0.13</c:v>
                </c:pt>
                <c:pt idx="1">
                  <c:v>49.4</c:v>
                </c:pt>
                <c:pt idx="2">
                  <c:v>94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AB-4944-A381-EC90E30881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08391328"/>
        <c:axId val="108391808"/>
      </c:barChart>
      <c:catAx>
        <c:axId val="108391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8391808"/>
        <c:crosses val="autoZero"/>
        <c:auto val="1"/>
        <c:lblAlgn val="ctr"/>
        <c:lblOffset val="100"/>
        <c:noMultiLvlLbl val="0"/>
      </c:catAx>
      <c:valAx>
        <c:axId val="108391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Delay Time(50m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8391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lay Tim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cosii</c:v>
                </c:pt>
                <c:pt idx="1">
                  <c:v>embassy_preempt线程模式</c:v>
                </c:pt>
                <c:pt idx="2">
                  <c:v>embassy_preempt协程模式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.0140000000000002</c:v>
                </c:pt>
                <c:pt idx="1">
                  <c:v>7.6943000000000001</c:v>
                </c:pt>
                <c:pt idx="2">
                  <c:v>10.1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43-4931-A060-F7760D3011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08391328"/>
        <c:axId val="108391808"/>
      </c:barChart>
      <c:catAx>
        <c:axId val="108391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8391808"/>
        <c:crosses val="autoZero"/>
        <c:auto val="1"/>
        <c:lblAlgn val="ctr"/>
        <c:lblOffset val="100"/>
        <c:noMultiLvlLbl val="0"/>
      </c:catAx>
      <c:valAx>
        <c:axId val="108391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Time(u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8391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5/5/2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5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1">
            <a:extLst>
              <a:ext uri="{FF2B5EF4-FFF2-40B4-BE49-F238E27FC236}">
                <a16:creationId xmlns:a16="http://schemas.microsoft.com/office/drawing/2014/main" id="{C8656260-0DAA-4BCA-956E-5DF150AF42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í$ľîḓè">
            <a:extLst>
              <a:ext uri="{FF2B5EF4-FFF2-40B4-BE49-F238E27FC236}">
                <a16:creationId xmlns:a16="http://schemas.microsoft.com/office/drawing/2014/main" id="{39121CC9-492B-472F-AB60-7D1F2427930D}"/>
              </a:ext>
            </a:extLst>
          </p:cNvPr>
          <p:cNvSpPr/>
          <p:nvPr userDrawn="1"/>
        </p:nvSpPr>
        <p:spPr>
          <a:xfrm>
            <a:off x="-3604" y="0"/>
            <a:ext cx="12192000" cy="685800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îṩ1idê">
            <a:extLst>
              <a:ext uri="{FF2B5EF4-FFF2-40B4-BE49-F238E27FC236}">
                <a16:creationId xmlns:a16="http://schemas.microsoft.com/office/drawing/2014/main" id="{DE7B807E-E01A-4AFD-9A50-20210CD7B21B}"/>
              </a:ext>
            </a:extLst>
          </p:cNvPr>
          <p:cNvSpPr/>
          <p:nvPr userDrawn="1"/>
        </p:nvSpPr>
        <p:spPr>
          <a:xfrm>
            <a:off x="5721772" y="0"/>
            <a:ext cx="6470228" cy="6074237"/>
          </a:xfrm>
          <a:custGeom>
            <a:avLst/>
            <a:gdLst>
              <a:gd name="connsiteX0" fmla="*/ 2441939 w 6470228"/>
              <a:gd name="connsiteY0" fmla="*/ 0 h 6074237"/>
              <a:gd name="connsiteX1" fmla="*/ 6470228 w 6470228"/>
              <a:gd name="connsiteY1" fmla="*/ 0 h 6074237"/>
              <a:gd name="connsiteX2" fmla="*/ 6470228 w 6470228"/>
              <a:gd name="connsiteY2" fmla="*/ 2453916 h 6074237"/>
              <a:gd name="connsiteX3" fmla="*/ 4110930 w 6470228"/>
              <a:gd name="connsiteY3" fmla="*/ 5247423 h 6074237"/>
              <a:gd name="connsiteX4" fmla="*/ 826815 w 6470228"/>
              <a:gd name="connsiteY4" fmla="*/ 5524165 h 6074237"/>
              <a:gd name="connsiteX5" fmla="*/ 826816 w 6470228"/>
              <a:gd name="connsiteY5" fmla="*/ 5524165 h 6074237"/>
              <a:gd name="connsiteX6" fmla="*/ 550073 w 6470228"/>
              <a:gd name="connsiteY6" fmla="*/ 2240050 h 607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0228" h="6074237">
                <a:moveTo>
                  <a:pt x="2441939" y="0"/>
                </a:moveTo>
                <a:lnTo>
                  <a:pt x="6470228" y="0"/>
                </a:lnTo>
                <a:lnTo>
                  <a:pt x="6470228" y="2453916"/>
                </a:lnTo>
                <a:lnTo>
                  <a:pt x="4110930" y="5247423"/>
                </a:lnTo>
                <a:cubicBezTo>
                  <a:pt x="3280467" y="6230727"/>
                  <a:pt x="1810118" y="6354628"/>
                  <a:pt x="826815" y="5524165"/>
                </a:cubicBezTo>
                <a:lnTo>
                  <a:pt x="826816" y="5524165"/>
                </a:lnTo>
                <a:cubicBezTo>
                  <a:pt x="-156489" y="4693703"/>
                  <a:pt x="-280390" y="3223353"/>
                  <a:pt x="550073" y="2240050"/>
                </a:cubicBezTo>
                <a:close/>
              </a:path>
            </a:pathLst>
          </a:custGeom>
          <a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0885" r="-1088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ïṣḷíḋé">
            <a:extLst>
              <a:ext uri="{FF2B5EF4-FFF2-40B4-BE49-F238E27FC236}">
                <a16:creationId xmlns:a16="http://schemas.microsoft.com/office/drawing/2014/main" id="{15D53D93-35DC-4E96-95E2-01CE36D06BED}"/>
              </a:ext>
            </a:extLst>
          </p:cNvPr>
          <p:cNvSpPr/>
          <p:nvPr userDrawn="1"/>
        </p:nvSpPr>
        <p:spPr>
          <a:xfrm>
            <a:off x="4906913" y="0"/>
            <a:ext cx="3955516" cy="3655904"/>
          </a:xfrm>
          <a:custGeom>
            <a:avLst/>
            <a:gdLst>
              <a:gd name="connsiteX0" fmla="*/ 210268 w 3955516"/>
              <a:gd name="connsiteY0" fmla="*/ 3516016 h 3655904"/>
              <a:gd name="connsiteX1" fmla="*/ 210268 w 3955516"/>
              <a:gd name="connsiteY1" fmla="*/ 3516016 h 3655904"/>
              <a:gd name="connsiteX2" fmla="*/ 210268 w 3955516"/>
              <a:gd name="connsiteY2" fmla="*/ 3516016 h 3655904"/>
              <a:gd name="connsiteX3" fmla="*/ 2404025 w 3955516"/>
              <a:gd name="connsiteY3" fmla="*/ 0 h 3655904"/>
              <a:gd name="connsiteX4" fmla="*/ 3955516 w 3955516"/>
              <a:gd name="connsiteY4" fmla="*/ 0 h 3655904"/>
              <a:gd name="connsiteX5" fmla="*/ 1045452 w 3955516"/>
              <a:gd name="connsiteY5" fmla="*/ 3445637 h 3655904"/>
              <a:gd name="connsiteX6" fmla="*/ 309288 w 3955516"/>
              <a:gd name="connsiteY6" fmla="*/ 3583884 h 3655904"/>
              <a:gd name="connsiteX7" fmla="*/ 210268 w 3955516"/>
              <a:gd name="connsiteY7" fmla="*/ 3516016 h 3655904"/>
              <a:gd name="connsiteX8" fmla="*/ 126786 w 3955516"/>
              <a:gd name="connsiteY8" fmla="*/ 3429750 h 3655904"/>
              <a:gd name="connsiteX9" fmla="*/ 139890 w 3955516"/>
              <a:gd name="connsiteY9" fmla="*/ 2680831 h 365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5516" h="3655904">
                <a:moveTo>
                  <a:pt x="210268" y="3516016"/>
                </a:moveTo>
                <a:lnTo>
                  <a:pt x="210268" y="3516016"/>
                </a:lnTo>
                <a:lnTo>
                  <a:pt x="210268" y="3516016"/>
                </a:lnTo>
                <a:close/>
                <a:moveTo>
                  <a:pt x="2404025" y="0"/>
                </a:moveTo>
                <a:lnTo>
                  <a:pt x="3955516" y="0"/>
                </a:lnTo>
                <a:lnTo>
                  <a:pt x="1045452" y="3445637"/>
                </a:lnTo>
                <a:cubicBezTo>
                  <a:pt x="860656" y="3664444"/>
                  <a:pt x="551270" y="3715919"/>
                  <a:pt x="309288" y="3583884"/>
                </a:cubicBezTo>
                <a:lnTo>
                  <a:pt x="210268" y="3516016"/>
                </a:lnTo>
                <a:lnTo>
                  <a:pt x="126786" y="3429750"/>
                </a:lnTo>
                <a:cubicBezTo>
                  <a:pt x="-43881" y="3213275"/>
                  <a:pt x="-44906" y="2899638"/>
                  <a:pt x="139890" y="2680831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iş1îḑé">
            <a:extLst>
              <a:ext uri="{FF2B5EF4-FFF2-40B4-BE49-F238E27FC236}">
                <a16:creationId xmlns:a16="http://schemas.microsoft.com/office/drawing/2014/main" id="{729DEC4C-6670-452D-9EAA-A600ABE860D6}"/>
              </a:ext>
            </a:extLst>
          </p:cNvPr>
          <p:cNvSpPr/>
          <p:nvPr userDrawn="1"/>
        </p:nvSpPr>
        <p:spPr>
          <a:xfrm>
            <a:off x="10490882" y="2022031"/>
            <a:ext cx="1697514" cy="2819365"/>
          </a:xfrm>
          <a:custGeom>
            <a:avLst/>
            <a:gdLst>
              <a:gd name="connsiteX0" fmla="*/ 1697514 w 1697514"/>
              <a:gd name="connsiteY0" fmla="*/ 0 h 2819365"/>
              <a:gd name="connsiteX1" fmla="*/ 1697514 w 1697514"/>
              <a:gd name="connsiteY1" fmla="*/ 1837030 h 2819365"/>
              <a:gd name="connsiteX2" fmla="*/ 1045452 w 1697514"/>
              <a:gd name="connsiteY2" fmla="*/ 2609099 h 2819365"/>
              <a:gd name="connsiteX3" fmla="*/ 210267 w 1697514"/>
              <a:gd name="connsiteY3" fmla="*/ 2679477 h 2819365"/>
              <a:gd name="connsiteX4" fmla="*/ 210268 w 1697514"/>
              <a:gd name="connsiteY4" fmla="*/ 2679478 h 2819365"/>
              <a:gd name="connsiteX5" fmla="*/ 139890 w 1697514"/>
              <a:gd name="connsiteY5" fmla="*/ 1844292 h 2819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514" h="2819365">
                <a:moveTo>
                  <a:pt x="1697514" y="0"/>
                </a:moveTo>
                <a:lnTo>
                  <a:pt x="1697514" y="1837030"/>
                </a:lnTo>
                <a:lnTo>
                  <a:pt x="1045452" y="2609099"/>
                </a:lnTo>
                <a:cubicBezTo>
                  <a:pt x="834257" y="2859163"/>
                  <a:pt x="460332" y="2890672"/>
                  <a:pt x="210267" y="2679477"/>
                </a:cubicBezTo>
                <a:lnTo>
                  <a:pt x="210268" y="2679478"/>
                </a:lnTo>
                <a:cubicBezTo>
                  <a:pt x="-39796" y="2468282"/>
                  <a:pt x="-71306" y="2094357"/>
                  <a:pt x="139890" y="1844292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" name="í$ḻïḓé">
            <a:extLst>
              <a:ext uri="{FF2B5EF4-FFF2-40B4-BE49-F238E27FC236}">
                <a16:creationId xmlns:a16="http://schemas.microsoft.com/office/drawing/2014/main" id="{41844EB8-6924-4FA7-BD8C-153CC5338BA7}"/>
              </a:ext>
            </a:extLst>
          </p:cNvPr>
          <p:cNvSpPr/>
          <p:nvPr userDrawn="1"/>
        </p:nvSpPr>
        <p:spPr>
          <a:xfrm>
            <a:off x="10073794" y="2366994"/>
            <a:ext cx="2118206" cy="3564196"/>
          </a:xfrm>
          <a:custGeom>
            <a:avLst/>
            <a:gdLst>
              <a:gd name="connsiteX0" fmla="*/ 2118206 w 2118206"/>
              <a:gd name="connsiteY0" fmla="*/ 0 h 3564196"/>
              <a:gd name="connsiteX1" fmla="*/ 2118206 w 2118206"/>
              <a:gd name="connsiteY1" fmla="*/ 2396948 h 3564196"/>
              <a:gd name="connsiteX2" fmla="*/ 1364100 w 2118206"/>
              <a:gd name="connsiteY2" fmla="*/ 3289841 h 3564196"/>
              <a:gd name="connsiteX3" fmla="*/ 274355 w 2118206"/>
              <a:gd name="connsiteY3" fmla="*/ 3381670 h 3564196"/>
              <a:gd name="connsiteX4" fmla="*/ 274356 w 2118206"/>
              <a:gd name="connsiteY4" fmla="*/ 3381671 h 3564196"/>
              <a:gd name="connsiteX5" fmla="*/ 182527 w 2118206"/>
              <a:gd name="connsiteY5" fmla="*/ 2291926 h 356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206" h="3564196">
                <a:moveTo>
                  <a:pt x="2118206" y="0"/>
                </a:moveTo>
                <a:lnTo>
                  <a:pt x="2118206" y="2396948"/>
                </a:lnTo>
                <a:lnTo>
                  <a:pt x="1364100" y="3289841"/>
                </a:lnTo>
                <a:cubicBezTo>
                  <a:pt x="1088533" y="3616123"/>
                  <a:pt x="600638" y="3657237"/>
                  <a:pt x="274355" y="3381670"/>
                </a:cubicBezTo>
                <a:lnTo>
                  <a:pt x="274356" y="3381671"/>
                </a:lnTo>
                <a:cubicBezTo>
                  <a:pt x="-51927" y="3106104"/>
                  <a:pt x="-93040" y="2618208"/>
                  <a:pt x="182527" y="2291926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" name="ïŝļîḍè">
            <a:extLst>
              <a:ext uri="{FF2B5EF4-FFF2-40B4-BE49-F238E27FC236}">
                <a16:creationId xmlns:a16="http://schemas.microsoft.com/office/drawing/2014/main" id="{C9A33AB4-1CF5-41FD-AFD9-8EAFEBEF518F}"/>
              </a:ext>
            </a:extLst>
          </p:cNvPr>
          <p:cNvSpPr/>
          <p:nvPr userDrawn="1"/>
        </p:nvSpPr>
        <p:spPr>
          <a:xfrm>
            <a:off x="5721772" y="0"/>
            <a:ext cx="6470228" cy="6074237"/>
          </a:xfrm>
          <a:custGeom>
            <a:avLst/>
            <a:gdLst>
              <a:gd name="connsiteX0" fmla="*/ 2441939 w 6470228"/>
              <a:gd name="connsiteY0" fmla="*/ 0 h 6074237"/>
              <a:gd name="connsiteX1" fmla="*/ 6470228 w 6470228"/>
              <a:gd name="connsiteY1" fmla="*/ 0 h 6074237"/>
              <a:gd name="connsiteX2" fmla="*/ 6470228 w 6470228"/>
              <a:gd name="connsiteY2" fmla="*/ 2453916 h 6074237"/>
              <a:gd name="connsiteX3" fmla="*/ 4110930 w 6470228"/>
              <a:gd name="connsiteY3" fmla="*/ 5247423 h 6074237"/>
              <a:gd name="connsiteX4" fmla="*/ 826815 w 6470228"/>
              <a:gd name="connsiteY4" fmla="*/ 5524165 h 6074237"/>
              <a:gd name="connsiteX5" fmla="*/ 826816 w 6470228"/>
              <a:gd name="connsiteY5" fmla="*/ 5524165 h 6074237"/>
              <a:gd name="connsiteX6" fmla="*/ 550073 w 6470228"/>
              <a:gd name="connsiteY6" fmla="*/ 2240050 h 607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0228" h="6074237">
                <a:moveTo>
                  <a:pt x="2441939" y="0"/>
                </a:moveTo>
                <a:lnTo>
                  <a:pt x="6470228" y="0"/>
                </a:lnTo>
                <a:lnTo>
                  <a:pt x="6470228" y="2453916"/>
                </a:lnTo>
                <a:lnTo>
                  <a:pt x="4110930" y="5247423"/>
                </a:lnTo>
                <a:cubicBezTo>
                  <a:pt x="3280467" y="6230727"/>
                  <a:pt x="1810118" y="6354628"/>
                  <a:pt x="826815" y="5524165"/>
                </a:cubicBezTo>
                <a:lnTo>
                  <a:pt x="826816" y="5524165"/>
                </a:lnTo>
                <a:cubicBezTo>
                  <a:pt x="-156489" y="4693703"/>
                  <a:pt x="-280390" y="3223353"/>
                  <a:pt x="550073" y="2240050"/>
                </a:cubicBezTo>
                <a:close/>
              </a:path>
            </a:pathLst>
          </a:custGeom>
          <a:solidFill>
            <a:schemeClr val="accent3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71789" y="2069508"/>
            <a:ext cx="10447110" cy="558799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marL="228589" lvl="0" indent="-228589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80509" y="2717966"/>
            <a:ext cx="10438390" cy="2087481"/>
          </a:xfrm>
        </p:spPr>
        <p:txBody>
          <a:bodyPr vert="horz" lIns="91440" tIns="45720" rIns="91440" bIns="45720" rtlCol="0" anchor="b">
            <a:normAutofit/>
          </a:bodyPr>
          <a:lstStyle>
            <a:lvl1pPr marL="571500" indent="-571500">
              <a:buFont typeface="Arial" panose="020B0604020202020204" pitchFamily="34" charset="0"/>
              <a:buNone/>
              <a:defRPr lang="zh-CN" altLang="en-US" sz="4000" b="0" dirty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marL="0" lvl="0" indent="0" fontAlgn="b">
              <a:lnSpc>
                <a:spcPct val="100000"/>
              </a:lnSpc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71789" y="5387317"/>
            <a:ext cx="1044711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altLang="zh-CN" sz="1400" b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071789" y="5683588"/>
            <a:ext cx="1044711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zh-CN" altLang="en-US" sz="1400" b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EDBA6F86-4A2D-4B39-9997-6BF685C13150}"/>
              </a:ext>
            </a:extLst>
          </p:cNvPr>
          <p:cNvGrpSpPr/>
          <p:nvPr userDrawn="1"/>
        </p:nvGrpSpPr>
        <p:grpSpPr>
          <a:xfrm>
            <a:off x="1071789" y="916886"/>
            <a:ext cx="2217511" cy="499112"/>
            <a:chOff x="1071789" y="916886"/>
            <a:chExt cx="2217511" cy="499112"/>
          </a:xfrm>
        </p:grpSpPr>
        <p:grpSp>
          <p:nvGrpSpPr>
            <p:cNvPr id="15" name="ï$ļidê">
              <a:extLst>
                <a:ext uri="{FF2B5EF4-FFF2-40B4-BE49-F238E27FC236}">
                  <a16:creationId xmlns:a16="http://schemas.microsoft.com/office/drawing/2014/main" id="{9F05585E-0700-4BBB-A9DD-3CA7AE3B5D52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16" name="íṡḷïdè">
                <a:extLst>
                  <a:ext uri="{FF2B5EF4-FFF2-40B4-BE49-F238E27FC236}">
                    <a16:creationId xmlns:a16="http://schemas.microsoft.com/office/drawing/2014/main" id="{C9C1E94C-2E47-4839-BD57-269DDF0A0248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íṣ1îḑè">
                <a:extLst>
                  <a:ext uri="{FF2B5EF4-FFF2-40B4-BE49-F238E27FC236}">
                    <a16:creationId xmlns:a16="http://schemas.microsoft.com/office/drawing/2014/main" id="{E30692F5-62AB-4E1C-B013-47986D1105E8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s1ïḍê">
                <a:extLst>
                  <a:ext uri="{FF2B5EF4-FFF2-40B4-BE49-F238E27FC236}">
                    <a16:creationId xmlns:a16="http://schemas.microsoft.com/office/drawing/2014/main" id="{A2A2899E-53F9-406B-ACFE-E199A7E73BB8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išļïḋé">
                <a:extLst>
                  <a:ext uri="{FF2B5EF4-FFF2-40B4-BE49-F238E27FC236}">
                    <a16:creationId xmlns:a16="http://schemas.microsoft.com/office/drawing/2014/main" id="{51DBB156-1DE8-48FD-9CB9-9AA3D7180C56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şḷîḋè">
                <a:extLst>
                  <a:ext uri="{FF2B5EF4-FFF2-40B4-BE49-F238E27FC236}">
                    <a16:creationId xmlns:a16="http://schemas.microsoft.com/office/drawing/2014/main" id="{91BB4CBC-7C27-4E15-A850-D8401C643978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ślídê">
                <a:extLst>
                  <a:ext uri="{FF2B5EF4-FFF2-40B4-BE49-F238E27FC236}">
                    <a16:creationId xmlns:a16="http://schemas.microsoft.com/office/drawing/2014/main" id="{311EAFB6-5AA6-4C7B-AA29-57FA3AA5C1C7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ï$ḻîḋe">
                <a:extLst>
                  <a:ext uri="{FF2B5EF4-FFF2-40B4-BE49-F238E27FC236}">
                    <a16:creationId xmlns:a16="http://schemas.microsoft.com/office/drawing/2014/main" id="{7FC06178-89EF-406E-90A7-6E036FF2E402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îŝḷîḓé">
                <a:extLst>
                  <a:ext uri="{FF2B5EF4-FFF2-40B4-BE49-F238E27FC236}">
                    <a16:creationId xmlns:a16="http://schemas.microsoft.com/office/drawing/2014/main" id="{360A0ED6-F5EB-4B85-8BEB-170C2CA34DFD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íşlîḑé">
                <a:extLst>
                  <a:ext uri="{FF2B5EF4-FFF2-40B4-BE49-F238E27FC236}">
                    <a16:creationId xmlns:a16="http://schemas.microsoft.com/office/drawing/2014/main" id="{5EBE9075-CB89-4B07-BF6B-F76C14A6A250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ṣliḍe">
                <a:extLst>
                  <a:ext uri="{FF2B5EF4-FFF2-40B4-BE49-F238E27FC236}">
                    <a16:creationId xmlns:a16="http://schemas.microsoft.com/office/drawing/2014/main" id="{E60C8BD0-583B-4A7B-85AA-4B0DCBCCF7E9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26" name="îṧľîḍe">
                <a:extLst>
                  <a:ext uri="{FF2B5EF4-FFF2-40B4-BE49-F238E27FC236}">
                    <a16:creationId xmlns:a16="http://schemas.microsoft.com/office/drawing/2014/main" id="{F7520B1E-9FF6-4490-9AF5-A6CD7BC5F07A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ŝ1iďe">
                <a:extLst>
                  <a:ext uri="{FF2B5EF4-FFF2-40B4-BE49-F238E27FC236}">
                    <a16:creationId xmlns:a16="http://schemas.microsoft.com/office/drawing/2014/main" id="{7AF0FB22-382E-4C2F-947B-F3EE610E0E8A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iṩļîḋè">
                <a:extLst>
                  <a:ext uri="{FF2B5EF4-FFF2-40B4-BE49-F238E27FC236}">
                    <a16:creationId xmlns:a16="http://schemas.microsoft.com/office/drawing/2014/main" id="{6CB97203-D927-4E59-8380-B0F6F4099087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ṧlide">
                <a:extLst>
                  <a:ext uri="{FF2B5EF4-FFF2-40B4-BE49-F238E27FC236}">
                    <a16:creationId xmlns:a16="http://schemas.microsoft.com/office/drawing/2014/main" id="{C54E38DC-5B65-432F-BDF6-4E99EC2D3B7A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iṣḷîḍè">
                <a:extLst>
                  <a:ext uri="{FF2B5EF4-FFF2-40B4-BE49-F238E27FC236}">
                    <a16:creationId xmlns:a16="http://schemas.microsoft.com/office/drawing/2014/main" id="{0EF5FD93-45AD-46A4-8202-FF32E73CE5AC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ïṧḷîďé">
                <a:extLst>
                  <a:ext uri="{FF2B5EF4-FFF2-40B4-BE49-F238E27FC236}">
                    <a16:creationId xmlns:a16="http://schemas.microsoft.com/office/drawing/2014/main" id="{522232E4-4E21-4976-BFF1-3669AE8F576B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šľíḍe">
                <a:extLst>
                  <a:ext uri="{FF2B5EF4-FFF2-40B4-BE49-F238E27FC236}">
                    <a16:creationId xmlns:a16="http://schemas.microsoft.com/office/drawing/2014/main" id="{2F9CAD39-E743-47FE-B65F-037B65C92EAD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3" name="iṡlïḓè">
              <a:extLst>
                <a:ext uri="{FF2B5EF4-FFF2-40B4-BE49-F238E27FC236}">
                  <a16:creationId xmlns:a16="http://schemas.microsoft.com/office/drawing/2014/main" id="{C4B7F650-2D08-48CE-8874-0B637795FC37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34" name="îś1iḑe">
                <a:extLst>
                  <a:ext uri="{FF2B5EF4-FFF2-40B4-BE49-F238E27FC236}">
                    <a16:creationId xmlns:a16="http://schemas.microsoft.com/office/drawing/2014/main" id="{B2E0B3C9-EAF4-4A46-8835-CAD2AD4AABEC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iṡlïḋé">
                <a:extLst>
                  <a:ext uri="{FF2B5EF4-FFF2-40B4-BE49-F238E27FC236}">
                    <a16:creationId xmlns:a16="http://schemas.microsoft.com/office/drawing/2014/main" id="{A1DA236C-E443-4CA3-8E69-9ED93BCF8C5B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ïṣḷiḑé">
                <a:extLst>
                  <a:ext uri="{FF2B5EF4-FFF2-40B4-BE49-F238E27FC236}">
                    <a16:creationId xmlns:a16="http://schemas.microsoft.com/office/drawing/2014/main" id="{E15FF73D-F61A-427D-AB3B-511EA8DE1FC5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ṣlîḍe">
                <a:extLst>
                  <a:ext uri="{FF2B5EF4-FFF2-40B4-BE49-F238E27FC236}">
                    <a16:creationId xmlns:a16="http://schemas.microsoft.com/office/drawing/2014/main" id="{D3DE80C0-512C-4411-93F8-E5C37183A47C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íśļïďè">
                <a:extLst>
                  <a:ext uri="{FF2B5EF4-FFF2-40B4-BE49-F238E27FC236}">
                    <a16:creationId xmlns:a16="http://schemas.microsoft.com/office/drawing/2014/main" id="{D47DE5DB-7E72-4C9A-B7B2-CA92AAB3190B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iṡľiḍê">
                <a:extLst>
                  <a:ext uri="{FF2B5EF4-FFF2-40B4-BE49-F238E27FC236}">
                    <a16:creationId xmlns:a16="http://schemas.microsoft.com/office/drawing/2014/main" id="{DCF47C1E-F0A9-4C5C-B389-E0633DB7C343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0" name="iṧlide">
              <a:extLst>
                <a:ext uri="{FF2B5EF4-FFF2-40B4-BE49-F238E27FC236}">
                  <a16:creationId xmlns:a16="http://schemas.microsoft.com/office/drawing/2014/main" id="{39720CBA-2A4E-46FF-9592-8B7E3D032116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41" name="iş1íḍê">
                <a:extLst>
                  <a:ext uri="{FF2B5EF4-FFF2-40B4-BE49-F238E27FC236}">
                    <a16:creationId xmlns:a16="http://schemas.microsoft.com/office/drawing/2014/main" id="{5AA59F4F-3BD3-4320-B6EB-A2ED9B1D21E5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işľiḓe">
                <a:extLst>
                  <a:ext uri="{FF2B5EF4-FFF2-40B4-BE49-F238E27FC236}">
                    <a16:creationId xmlns:a16="http://schemas.microsoft.com/office/drawing/2014/main" id="{E2DF964D-7146-4C25-A7D0-A519CF50AA41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草地上的建筑&#10;&#10;描述已自动生成">
            <a:extLst>
              <a:ext uri="{FF2B5EF4-FFF2-40B4-BE49-F238E27FC236}">
                <a16:creationId xmlns:a16="http://schemas.microsoft.com/office/drawing/2014/main" id="{BBFFA7F1-2C54-445A-92A8-E46F031D9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8" y="-1"/>
            <a:ext cx="12173002" cy="6858000"/>
          </a:xfrm>
          <a:prstGeom prst="rect">
            <a:avLst/>
          </a:prstGeom>
        </p:spPr>
      </p:pic>
      <p:sp>
        <p:nvSpPr>
          <p:cNvPr id="11" name="ïṣḷïḋe">
            <a:extLst>
              <a:ext uri="{FF2B5EF4-FFF2-40B4-BE49-F238E27FC236}">
                <a16:creationId xmlns:a16="http://schemas.microsoft.com/office/drawing/2014/main" id="{F45ED433-40CE-4A52-8775-D14AFBBF996A}"/>
              </a:ext>
            </a:extLst>
          </p:cNvPr>
          <p:cNvSpPr/>
          <p:nvPr userDrawn="1"/>
        </p:nvSpPr>
        <p:spPr>
          <a:xfrm>
            <a:off x="1" y="3553277"/>
            <a:ext cx="3520161" cy="3304722"/>
          </a:xfrm>
          <a:custGeom>
            <a:avLst/>
            <a:gdLst>
              <a:gd name="connsiteX0" fmla="*/ 2267365 w 3520161"/>
              <a:gd name="connsiteY0" fmla="*/ 83 h 3304722"/>
              <a:gd name="connsiteX1" fmla="*/ 3070329 w 3520161"/>
              <a:gd name="connsiteY1" fmla="*/ 299271 h 3304722"/>
              <a:gd name="connsiteX2" fmla="*/ 3070328 w 3520161"/>
              <a:gd name="connsiteY2" fmla="*/ 299271 h 3304722"/>
              <a:gd name="connsiteX3" fmla="*/ 3220892 w 3520161"/>
              <a:gd name="connsiteY3" fmla="*/ 2086011 h 3304722"/>
              <a:gd name="connsiteX4" fmla="*/ 2191612 w 3520161"/>
              <a:gd name="connsiteY4" fmla="*/ 3304722 h 3304722"/>
              <a:gd name="connsiteX5" fmla="*/ 0 w 3520161"/>
              <a:gd name="connsiteY5" fmla="*/ 3304722 h 3304722"/>
              <a:gd name="connsiteX6" fmla="*/ 0 w 3520161"/>
              <a:gd name="connsiteY6" fmla="*/ 1969656 h 3304722"/>
              <a:gd name="connsiteX7" fmla="*/ 1283589 w 3520161"/>
              <a:gd name="connsiteY7" fmla="*/ 449834 h 3304722"/>
              <a:gd name="connsiteX8" fmla="*/ 2267365 w 3520161"/>
              <a:gd name="connsiteY8" fmla="*/ 83 h 3304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161" h="3304722">
                <a:moveTo>
                  <a:pt x="2267365" y="83"/>
                </a:moveTo>
                <a:cubicBezTo>
                  <a:pt x="2551510" y="3313"/>
                  <a:pt x="2836279" y="101600"/>
                  <a:pt x="3070329" y="299271"/>
                </a:cubicBezTo>
                <a:lnTo>
                  <a:pt x="3070328" y="299271"/>
                </a:lnTo>
                <a:cubicBezTo>
                  <a:pt x="3605301" y="751088"/>
                  <a:pt x="3672710" y="1551040"/>
                  <a:pt x="3220892" y="2086011"/>
                </a:cubicBezTo>
                <a:lnTo>
                  <a:pt x="2191612" y="3304722"/>
                </a:lnTo>
                <a:lnTo>
                  <a:pt x="0" y="3304722"/>
                </a:lnTo>
                <a:lnTo>
                  <a:pt x="0" y="1969656"/>
                </a:lnTo>
                <a:lnTo>
                  <a:pt x="1283589" y="449834"/>
                </a:lnTo>
                <a:cubicBezTo>
                  <a:pt x="1537736" y="148912"/>
                  <a:pt x="1902035" y="-4070"/>
                  <a:pt x="2267365" y="83"/>
                </a:cubicBezTo>
                <a:close/>
              </a:path>
            </a:pathLst>
          </a:custGeom>
          <a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33323" r="-3332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5524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553614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iśľiḓè">
            <a:extLst>
              <a:ext uri="{FF2B5EF4-FFF2-40B4-BE49-F238E27FC236}">
                <a16:creationId xmlns:a16="http://schemas.microsoft.com/office/drawing/2014/main" id="{123C40B6-E7AA-4DA1-A1EA-507CB8D23762}"/>
              </a:ext>
            </a:extLst>
          </p:cNvPr>
          <p:cNvSpPr/>
          <p:nvPr userDrawn="1"/>
        </p:nvSpPr>
        <p:spPr>
          <a:xfrm flipH="1" flipV="1">
            <a:off x="1811471" y="4868985"/>
            <a:ext cx="2152019" cy="1989014"/>
          </a:xfrm>
          <a:custGeom>
            <a:avLst/>
            <a:gdLst>
              <a:gd name="connsiteX0" fmla="*/ 210268 w 3955516"/>
              <a:gd name="connsiteY0" fmla="*/ 3516016 h 3655904"/>
              <a:gd name="connsiteX1" fmla="*/ 210268 w 3955516"/>
              <a:gd name="connsiteY1" fmla="*/ 3516016 h 3655904"/>
              <a:gd name="connsiteX2" fmla="*/ 210268 w 3955516"/>
              <a:gd name="connsiteY2" fmla="*/ 3516016 h 3655904"/>
              <a:gd name="connsiteX3" fmla="*/ 2404025 w 3955516"/>
              <a:gd name="connsiteY3" fmla="*/ 0 h 3655904"/>
              <a:gd name="connsiteX4" fmla="*/ 3955516 w 3955516"/>
              <a:gd name="connsiteY4" fmla="*/ 0 h 3655904"/>
              <a:gd name="connsiteX5" fmla="*/ 1045452 w 3955516"/>
              <a:gd name="connsiteY5" fmla="*/ 3445637 h 3655904"/>
              <a:gd name="connsiteX6" fmla="*/ 309288 w 3955516"/>
              <a:gd name="connsiteY6" fmla="*/ 3583884 h 3655904"/>
              <a:gd name="connsiteX7" fmla="*/ 210268 w 3955516"/>
              <a:gd name="connsiteY7" fmla="*/ 3516016 h 3655904"/>
              <a:gd name="connsiteX8" fmla="*/ 126786 w 3955516"/>
              <a:gd name="connsiteY8" fmla="*/ 3429750 h 3655904"/>
              <a:gd name="connsiteX9" fmla="*/ 139890 w 3955516"/>
              <a:gd name="connsiteY9" fmla="*/ 2680831 h 365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5516" h="3655904">
                <a:moveTo>
                  <a:pt x="210268" y="3516016"/>
                </a:moveTo>
                <a:lnTo>
                  <a:pt x="210268" y="3516016"/>
                </a:lnTo>
                <a:lnTo>
                  <a:pt x="210268" y="3516016"/>
                </a:lnTo>
                <a:close/>
                <a:moveTo>
                  <a:pt x="2404025" y="0"/>
                </a:moveTo>
                <a:lnTo>
                  <a:pt x="3955516" y="0"/>
                </a:lnTo>
                <a:lnTo>
                  <a:pt x="1045452" y="3445637"/>
                </a:lnTo>
                <a:cubicBezTo>
                  <a:pt x="860656" y="3664444"/>
                  <a:pt x="551270" y="3715919"/>
                  <a:pt x="309288" y="3583884"/>
                </a:cubicBezTo>
                <a:lnTo>
                  <a:pt x="210268" y="3516016"/>
                </a:lnTo>
                <a:lnTo>
                  <a:pt x="126786" y="3429750"/>
                </a:lnTo>
                <a:cubicBezTo>
                  <a:pt x="-43881" y="3213275"/>
                  <a:pt x="-44906" y="2899638"/>
                  <a:pt x="139890" y="2680831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" name="îṡḷidé">
            <a:extLst>
              <a:ext uri="{FF2B5EF4-FFF2-40B4-BE49-F238E27FC236}">
                <a16:creationId xmlns:a16="http://schemas.microsoft.com/office/drawing/2014/main" id="{528AD497-350F-4116-A285-5614CF757254}"/>
              </a:ext>
            </a:extLst>
          </p:cNvPr>
          <p:cNvSpPr/>
          <p:nvPr userDrawn="1"/>
        </p:nvSpPr>
        <p:spPr>
          <a:xfrm flipH="1" flipV="1">
            <a:off x="1961" y="4224012"/>
            <a:ext cx="923541" cy="1533891"/>
          </a:xfrm>
          <a:custGeom>
            <a:avLst/>
            <a:gdLst>
              <a:gd name="connsiteX0" fmla="*/ 1697514 w 1697514"/>
              <a:gd name="connsiteY0" fmla="*/ 0 h 2819365"/>
              <a:gd name="connsiteX1" fmla="*/ 1697514 w 1697514"/>
              <a:gd name="connsiteY1" fmla="*/ 1837030 h 2819365"/>
              <a:gd name="connsiteX2" fmla="*/ 1045452 w 1697514"/>
              <a:gd name="connsiteY2" fmla="*/ 2609099 h 2819365"/>
              <a:gd name="connsiteX3" fmla="*/ 210267 w 1697514"/>
              <a:gd name="connsiteY3" fmla="*/ 2679477 h 2819365"/>
              <a:gd name="connsiteX4" fmla="*/ 210268 w 1697514"/>
              <a:gd name="connsiteY4" fmla="*/ 2679478 h 2819365"/>
              <a:gd name="connsiteX5" fmla="*/ 139890 w 1697514"/>
              <a:gd name="connsiteY5" fmla="*/ 1844292 h 2819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514" h="2819365">
                <a:moveTo>
                  <a:pt x="1697514" y="0"/>
                </a:moveTo>
                <a:lnTo>
                  <a:pt x="1697514" y="1837030"/>
                </a:lnTo>
                <a:lnTo>
                  <a:pt x="1045452" y="2609099"/>
                </a:lnTo>
                <a:cubicBezTo>
                  <a:pt x="834257" y="2859163"/>
                  <a:pt x="460332" y="2890672"/>
                  <a:pt x="210267" y="2679477"/>
                </a:cubicBezTo>
                <a:lnTo>
                  <a:pt x="210268" y="2679478"/>
                </a:lnTo>
                <a:cubicBezTo>
                  <a:pt x="-39796" y="2468282"/>
                  <a:pt x="-71306" y="2094357"/>
                  <a:pt x="139890" y="1844292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íšļiďe">
            <a:extLst>
              <a:ext uri="{FF2B5EF4-FFF2-40B4-BE49-F238E27FC236}">
                <a16:creationId xmlns:a16="http://schemas.microsoft.com/office/drawing/2014/main" id="{13D6C137-EBF6-4B52-8D00-29B84A407F57}"/>
              </a:ext>
            </a:extLst>
          </p:cNvPr>
          <p:cNvSpPr/>
          <p:nvPr userDrawn="1"/>
        </p:nvSpPr>
        <p:spPr>
          <a:xfrm flipH="1" flipV="1">
            <a:off x="0" y="3631103"/>
            <a:ext cx="1152421" cy="1939120"/>
          </a:xfrm>
          <a:custGeom>
            <a:avLst/>
            <a:gdLst>
              <a:gd name="connsiteX0" fmla="*/ 2118206 w 2118206"/>
              <a:gd name="connsiteY0" fmla="*/ 0 h 3564196"/>
              <a:gd name="connsiteX1" fmla="*/ 2118206 w 2118206"/>
              <a:gd name="connsiteY1" fmla="*/ 2396948 h 3564196"/>
              <a:gd name="connsiteX2" fmla="*/ 1364100 w 2118206"/>
              <a:gd name="connsiteY2" fmla="*/ 3289841 h 3564196"/>
              <a:gd name="connsiteX3" fmla="*/ 274355 w 2118206"/>
              <a:gd name="connsiteY3" fmla="*/ 3381670 h 3564196"/>
              <a:gd name="connsiteX4" fmla="*/ 274356 w 2118206"/>
              <a:gd name="connsiteY4" fmla="*/ 3381671 h 3564196"/>
              <a:gd name="connsiteX5" fmla="*/ 182527 w 2118206"/>
              <a:gd name="connsiteY5" fmla="*/ 2291926 h 356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206" h="3564196">
                <a:moveTo>
                  <a:pt x="2118206" y="0"/>
                </a:moveTo>
                <a:lnTo>
                  <a:pt x="2118206" y="2396948"/>
                </a:lnTo>
                <a:lnTo>
                  <a:pt x="1364100" y="3289841"/>
                </a:lnTo>
                <a:cubicBezTo>
                  <a:pt x="1088533" y="3616123"/>
                  <a:pt x="600638" y="3657237"/>
                  <a:pt x="274355" y="3381670"/>
                </a:cubicBezTo>
                <a:lnTo>
                  <a:pt x="274356" y="3381671"/>
                </a:lnTo>
                <a:cubicBezTo>
                  <a:pt x="-51927" y="3106104"/>
                  <a:pt x="-93040" y="2618208"/>
                  <a:pt x="182527" y="2291926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BFFFEFE1-FE65-42C5-B467-B40FC3F0A092}"/>
              </a:ext>
            </a:extLst>
          </p:cNvPr>
          <p:cNvGrpSpPr/>
          <p:nvPr userDrawn="1"/>
        </p:nvGrpSpPr>
        <p:grpSpPr>
          <a:xfrm>
            <a:off x="9724571" y="535076"/>
            <a:ext cx="1795916" cy="404220"/>
            <a:chOff x="1071789" y="916886"/>
            <a:chExt cx="2217511" cy="499112"/>
          </a:xfrm>
        </p:grpSpPr>
        <p:grpSp>
          <p:nvGrpSpPr>
            <p:cNvPr id="10" name="ï$ļidê">
              <a:extLst>
                <a:ext uri="{FF2B5EF4-FFF2-40B4-BE49-F238E27FC236}">
                  <a16:creationId xmlns:a16="http://schemas.microsoft.com/office/drawing/2014/main" id="{D6B7942D-1FC4-4324-844D-140A5C8D6B82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25" name="ïşļiḓe">
                <a:extLst>
                  <a:ext uri="{FF2B5EF4-FFF2-40B4-BE49-F238E27FC236}">
                    <a16:creationId xmlns:a16="http://schemas.microsoft.com/office/drawing/2014/main" id="{6938A7AE-6671-43B1-8E1C-E15651CA10A9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ïsľîḍe">
                <a:extLst>
                  <a:ext uri="{FF2B5EF4-FFF2-40B4-BE49-F238E27FC236}">
                    <a16:creationId xmlns:a16="http://schemas.microsoft.com/office/drawing/2014/main" id="{0419830F-0751-4CF3-B14F-C29C2583C5F6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sḻiḓè">
                <a:extLst>
                  <a:ext uri="{FF2B5EF4-FFF2-40B4-BE49-F238E27FC236}">
                    <a16:creationId xmlns:a16="http://schemas.microsoft.com/office/drawing/2014/main" id="{04D17CC4-931C-45A1-A18D-9350E99812F5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ïṧḷïḍé">
                <a:extLst>
                  <a:ext uri="{FF2B5EF4-FFF2-40B4-BE49-F238E27FC236}">
                    <a16:creationId xmlns:a16="http://schemas.microsoft.com/office/drawing/2014/main" id="{222ACFAB-7BF9-49DF-908C-8B639997C4CF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şļidè">
                <a:extLst>
                  <a:ext uri="{FF2B5EF4-FFF2-40B4-BE49-F238E27FC236}">
                    <a16:creationId xmlns:a16="http://schemas.microsoft.com/office/drawing/2014/main" id="{5881DE1F-926E-4434-B24B-C193FD00B25A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şḷîde">
                <a:extLst>
                  <a:ext uri="{FF2B5EF4-FFF2-40B4-BE49-F238E27FC236}">
                    <a16:creationId xmlns:a16="http://schemas.microsoft.com/office/drawing/2014/main" id="{DDB1C6B8-D9EF-4FBC-AA39-0548B5197C71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şľíḋé">
                <a:extLst>
                  <a:ext uri="{FF2B5EF4-FFF2-40B4-BE49-F238E27FC236}">
                    <a16:creationId xmlns:a16="http://schemas.microsoft.com/office/drawing/2014/main" id="{95E045EE-4E12-4070-9889-4339B0947CD7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Sḻîďê">
                <a:extLst>
                  <a:ext uri="{FF2B5EF4-FFF2-40B4-BE49-F238E27FC236}">
                    <a16:creationId xmlns:a16="http://schemas.microsoft.com/office/drawing/2014/main" id="{97E3FB5F-B878-4BD3-B57C-F22DFFF3549A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îs1ide">
                <a:extLst>
                  <a:ext uri="{FF2B5EF4-FFF2-40B4-BE49-F238E27FC236}">
                    <a16:creationId xmlns:a16="http://schemas.microsoft.com/office/drawing/2014/main" id="{12F38D4F-65AD-4CCD-91E4-71511C5C49F7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ísļïḍê">
                <a:extLst>
                  <a:ext uri="{FF2B5EF4-FFF2-40B4-BE49-F238E27FC236}">
                    <a16:creationId xmlns:a16="http://schemas.microsoft.com/office/drawing/2014/main" id="{893EEA19-7F57-4485-9789-A233D56A51A6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35" name="îṣ1ïḑé">
                <a:extLst>
                  <a:ext uri="{FF2B5EF4-FFF2-40B4-BE49-F238E27FC236}">
                    <a16:creationId xmlns:a16="http://schemas.microsoft.com/office/drawing/2014/main" id="{0322BE64-A0E4-4BB3-B5A9-E5D71E2A3B22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íṣ1îḓê">
                <a:extLst>
                  <a:ext uri="{FF2B5EF4-FFF2-40B4-BE49-F238E27FC236}">
                    <a16:creationId xmlns:a16="http://schemas.microsoft.com/office/drawing/2014/main" id="{D21C742C-7B20-4002-B310-644AFA897359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ṥļiďè">
                <a:extLst>
                  <a:ext uri="{FF2B5EF4-FFF2-40B4-BE49-F238E27FC236}">
                    <a16:creationId xmlns:a16="http://schemas.microsoft.com/office/drawing/2014/main" id="{CCBF5AB7-D62D-406F-AF12-55657BA37787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$1îḑê">
                <a:extLst>
                  <a:ext uri="{FF2B5EF4-FFF2-40B4-BE49-F238E27FC236}">
                    <a16:creationId xmlns:a16="http://schemas.microsoft.com/office/drawing/2014/main" id="{1E039AA3-C512-441B-96EF-01B3C08AE126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ŝḻîdê">
                <a:extLst>
                  <a:ext uri="{FF2B5EF4-FFF2-40B4-BE49-F238E27FC236}">
                    <a16:creationId xmlns:a16="http://schemas.microsoft.com/office/drawing/2014/main" id="{16F6E2BD-1F4B-4129-9B83-C3987963DE8F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îṥļîďé">
                <a:extLst>
                  <a:ext uri="{FF2B5EF4-FFF2-40B4-BE49-F238E27FC236}">
                    <a16:creationId xmlns:a16="http://schemas.microsoft.com/office/drawing/2014/main" id="{0D4A6BD9-D7E4-42ED-8822-2697EDB2F6B5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íşľídè">
                <a:extLst>
                  <a:ext uri="{FF2B5EF4-FFF2-40B4-BE49-F238E27FC236}">
                    <a16:creationId xmlns:a16="http://schemas.microsoft.com/office/drawing/2014/main" id="{DCA58161-1FBE-4A63-B0BF-0DA772E56C82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iṡlïḓè">
              <a:extLst>
                <a:ext uri="{FF2B5EF4-FFF2-40B4-BE49-F238E27FC236}">
                  <a16:creationId xmlns:a16="http://schemas.microsoft.com/office/drawing/2014/main" id="{518DE066-BCAA-4BDD-96BD-D6E1F2BF5FC1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17" name="îslíḋé">
                <a:extLst>
                  <a:ext uri="{FF2B5EF4-FFF2-40B4-BE49-F238E27FC236}">
                    <a16:creationId xmlns:a16="http://schemas.microsoft.com/office/drawing/2014/main" id="{5886D6D7-D3A1-40F1-8B7D-BDF7B68C9273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ṡlide">
                <a:extLst>
                  <a:ext uri="{FF2B5EF4-FFF2-40B4-BE49-F238E27FC236}">
                    <a16:creationId xmlns:a16="http://schemas.microsoft.com/office/drawing/2014/main" id="{277EC223-DC3B-4B0C-9713-D5AC8D09CE33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š1íḑê">
                <a:extLst>
                  <a:ext uri="{FF2B5EF4-FFF2-40B4-BE49-F238E27FC236}">
                    <a16:creationId xmlns:a16="http://schemas.microsoft.com/office/drawing/2014/main" id="{84E1A051-514E-4AED-A369-BDCE4A347A9B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îšļíďè">
                <a:extLst>
                  <a:ext uri="{FF2B5EF4-FFF2-40B4-BE49-F238E27FC236}">
                    <a16:creationId xmlns:a16="http://schemas.microsoft.com/office/drawing/2014/main" id="{4E9DACBA-F481-4DFF-9489-CCEDBFF23CA9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iṡļïḑê">
                <a:extLst>
                  <a:ext uri="{FF2B5EF4-FFF2-40B4-BE49-F238E27FC236}">
                    <a16:creationId xmlns:a16="http://schemas.microsoft.com/office/drawing/2014/main" id="{44756734-196B-41F7-ACBF-05AE2BCB115D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ïṩ1ïďè">
                <a:extLst>
                  <a:ext uri="{FF2B5EF4-FFF2-40B4-BE49-F238E27FC236}">
                    <a16:creationId xmlns:a16="http://schemas.microsoft.com/office/drawing/2014/main" id="{B01E906F-F954-42D4-A065-215ACF9519EF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iṧlide">
              <a:extLst>
                <a:ext uri="{FF2B5EF4-FFF2-40B4-BE49-F238E27FC236}">
                  <a16:creationId xmlns:a16="http://schemas.microsoft.com/office/drawing/2014/main" id="{57B39328-9224-4B4E-936F-66085E357C2C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15" name="îSľíďé">
                <a:extLst>
                  <a:ext uri="{FF2B5EF4-FFF2-40B4-BE49-F238E27FC236}">
                    <a16:creationId xmlns:a16="http://schemas.microsoft.com/office/drawing/2014/main" id="{1EC1A250-0861-4A3F-9AFC-1501E377344B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îṡľíďe">
                <a:extLst>
                  <a:ext uri="{FF2B5EF4-FFF2-40B4-BE49-F238E27FC236}">
                    <a16:creationId xmlns:a16="http://schemas.microsoft.com/office/drawing/2014/main" id="{56AC951B-9C04-4B8C-910B-75C20C799C0A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>
            <a:extLst>
              <a:ext uri="{FF2B5EF4-FFF2-40B4-BE49-F238E27FC236}">
                <a16:creationId xmlns:a16="http://schemas.microsoft.com/office/drawing/2014/main" id="{E58F7600-B3CB-4303-8E73-A949AFED3035}"/>
              </a:ext>
            </a:extLst>
          </p:cNvPr>
          <p:cNvGrpSpPr/>
          <p:nvPr userDrawn="1"/>
        </p:nvGrpSpPr>
        <p:grpSpPr>
          <a:xfrm flipH="1">
            <a:off x="0" y="0"/>
            <a:ext cx="6496050" cy="5416345"/>
            <a:chOff x="4906913" y="0"/>
            <a:chExt cx="7285087" cy="6074237"/>
          </a:xfrm>
        </p:grpSpPr>
        <p:sp>
          <p:nvSpPr>
            <p:cNvPr id="2" name="ïṡlîďê">
              <a:extLst>
                <a:ext uri="{FF2B5EF4-FFF2-40B4-BE49-F238E27FC236}">
                  <a16:creationId xmlns:a16="http://schemas.microsoft.com/office/drawing/2014/main" id="{E439CD5A-CAF5-45CD-9FCC-504319DAD15E}"/>
                </a:ext>
              </a:extLst>
            </p:cNvPr>
            <p:cNvSpPr/>
            <p:nvPr userDrawn="1"/>
          </p:nvSpPr>
          <p:spPr>
            <a:xfrm>
              <a:off x="5721772" y="0"/>
              <a:ext cx="6470228" cy="6074237"/>
            </a:xfrm>
            <a:custGeom>
              <a:avLst/>
              <a:gdLst>
                <a:gd name="connsiteX0" fmla="*/ 2441939 w 6470228"/>
                <a:gd name="connsiteY0" fmla="*/ 0 h 6074237"/>
                <a:gd name="connsiteX1" fmla="*/ 6470228 w 6470228"/>
                <a:gd name="connsiteY1" fmla="*/ 0 h 6074237"/>
                <a:gd name="connsiteX2" fmla="*/ 6470228 w 6470228"/>
                <a:gd name="connsiteY2" fmla="*/ 2453916 h 6074237"/>
                <a:gd name="connsiteX3" fmla="*/ 4110930 w 6470228"/>
                <a:gd name="connsiteY3" fmla="*/ 5247423 h 6074237"/>
                <a:gd name="connsiteX4" fmla="*/ 826815 w 6470228"/>
                <a:gd name="connsiteY4" fmla="*/ 5524165 h 6074237"/>
                <a:gd name="connsiteX5" fmla="*/ 826816 w 6470228"/>
                <a:gd name="connsiteY5" fmla="*/ 5524165 h 6074237"/>
                <a:gd name="connsiteX6" fmla="*/ 550073 w 6470228"/>
                <a:gd name="connsiteY6" fmla="*/ 2240050 h 607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0228" h="6074237">
                  <a:moveTo>
                    <a:pt x="2441939" y="0"/>
                  </a:moveTo>
                  <a:lnTo>
                    <a:pt x="6470228" y="0"/>
                  </a:lnTo>
                  <a:lnTo>
                    <a:pt x="6470228" y="2453916"/>
                  </a:lnTo>
                  <a:lnTo>
                    <a:pt x="4110930" y="5247423"/>
                  </a:lnTo>
                  <a:cubicBezTo>
                    <a:pt x="3280467" y="6230727"/>
                    <a:pt x="1810118" y="6354628"/>
                    <a:pt x="826815" y="5524165"/>
                  </a:cubicBezTo>
                  <a:lnTo>
                    <a:pt x="826816" y="5524165"/>
                  </a:lnTo>
                  <a:cubicBezTo>
                    <a:pt x="-156489" y="4693703"/>
                    <a:pt x="-280390" y="3223353"/>
                    <a:pt x="550073" y="2240050"/>
                  </a:cubicBezTo>
                  <a:close/>
                </a:path>
              </a:pathLst>
            </a:custGeom>
            <a:blipFill>
              <a:blip r:embed="rId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 l="-10885" r="-1088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" name="ïšḻïḑè">
              <a:extLst>
                <a:ext uri="{FF2B5EF4-FFF2-40B4-BE49-F238E27FC236}">
                  <a16:creationId xmlns:a16="http://schemas.microsoft.com/office/drawing/2014/main" id="{2CD2485B-6B24-4D35-B778-6A8221AAB7E4}"/>
                </a:ext>
              </a:extLst>
            </p:cNvPr>
            <p:cNvSpPr/>
            <p:nvPr userDrawn="1"/>
          </p:nvSpPr>
          <p:spPr>
            <a:xfrm>
              <a:off x="4906913" y="0"/>
              <a:ext cx="3955516" cy="3655904"/>
            </a:xfrm>
            <a:custGeom>
              <a:avLst/>
              <a:gdLst>
                <a:gd name="connsiteX0" fmla="*/ 210268 w 3955516"/>
                <a:gd name="connsiteY0" fmla="*/ 3516016 h 3655904"/>
                <a:gd name="connsiteX1" fmla="*/ 210268 w 3955516"/>
                <a:gd name="connsiteY1" fmla="*/ 3516016 h 3655904"/>
                <a:gd name="connsiteX2" fmla="*/ 210268 w 3955516"/>
                <a:gd name="connsiteY2" fmla="*/ 3516016 h 3655904"/>
                <a:gd name="connsiteX3" fmla="*/ 2404025 w 3955516"/>
                <a:gd name="connsiteY3" fmla="*/ 0 h 3655904"/>
                <a:gd name="connsiteX4" fmla="*/ 3955516 w 3955516"/>
                <a:gd name="connsiteY4" fmla="*/ 0 h 3655904"/>
                <a:gd name="connsiteX5" fmla="*/ 1045452 w 3955516"/>
                <a:gd name="connsiteY5" fmla="*/ 3445637 h 3655904"/>
                <a:gd name="connsiteX6" fmla="*/ 309288 w 3955516"/>
                <a:gd name="connsiteY6" fmla="*/ 3583884 h 3655904"/>
                <a:gd name="connsiteX7" fmla="*/ 210268 w 3955516"/>
                <a:gd name="connsiteY7" fmla="*/ 3516016 h 3655904"/>
                <a:gd name="connsiteX8" fmla="*/ 126786 w 3955516"/>
                <a:gd name="connsiteY8" fmla="*/ 3429750 h 3655904"/>
                <a:gd name="connsiteX9" fmla="*/ 139890 w 3955516"/>
                <a:gd name="connsiteY9" fmla="*/ 2680831 h 365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55516" h="3655904">
                  <a:moveTo>
                    <a:pt x="210268" y="3516016"/>
                  </a:moveTo>
                  <a:lnTo>
                    <a:pt x="210268" y="3516016"/>
                  </a:lnTo>
                  <a:lnTo>
                    <a:pt x="210268" y="3516016"/>
                  </a:lnTo>
                  <a:close/>
                  <a:moveTo>
                    <a:pt x="2404025" y="0"/>
                  </a:moveTo>
                  <a:lnTo>
                    <a:pt x="3955516" y="0"/>
                  </a:lnTo>
                  <a:lnTo>
                    <a:pt x="1045452" y="3445637"/>
                  </a:lnTo>
                  <a:cubicBezTo>
                    <a:pt x="860656" y="3664444"/>
                    <a:pt x="551270" y="3715919"/>
                    <a:pt x="309288" y="3583884"/>
                  </a:cubicBezTo>
                  <a:lnTo>
                    <a:pt x="210268" y="3516016"/>
                  </a:lnTo>
                  <a:lnTo>
                    <a:pt x="126786" y="3429750"/>
                  </a:lnTo>
                  <a:cubicBezTo>
                    <a:pt x="-43881" y="3213275"/>
                    <a:pt x="-44906" y="2899638"/>
                    <a:pt x="139890" y="2680831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" name="î$ļïḓê">
              <a:extLst>
                <a:ext uri="{FF2B5EF4-FFF2-40B4-BE49-F238E27FC236}">
                  <a16:creationId xmlns:a16="http://schemas.microsoft.com/office/drawing/2014/main" id="{3ECDFD97-F9F8-4458-83C7-75F6A6B9BC7F}"/>
                </a:ext>
              </a:extLst>
            </p:cNvPr>
            <p:cNvSpPr/>
            <p:nvPr userDrawn="1"/>
          </p:nvSpPr>
          <p:spPr>
            <a:xfrm>
              <a:off x="10490882" y="2022031"/>
              <a:ext cx="1697514" cy="2819365"/>
            </a:xfrm>
            <a:custGeom>
              <a:avLst/>
              <a:gdLst>
                <a:gd name="connsiteX0" fmla="*/ 1697514 w 1697514"/>
                <a:gd name="connsiteY0" fmla="*/ 0 h 2819365"/>
                <a:gd name="connsiteX1" fmla="*/ 1697514 w 1697514"/>
                <a:gd name="connsiteY1" fmla="*/ 1837030 h 2819365"/>
                <a:gd name="connsiteX2" fmla="*/ 1045452 w 1697514"/>
                <a:gd name="connsiteY2" fmla="*/ 2609099 h 2819365"/>
                <a:gd name="connsiteX3" fmla="*/ 210267 w 1697514"/>
                <a:gd name="connsiteY3" fmla="*/ 2679477 h 2819365"/>
                <a:gd name="connsiteX4" fmla="*/ 210268 w 1697514"/>
                <a:gd name="connsiteY4" fmla="*/ 2679478 h 2819365"/>
                <a:gd name="connsiteX5" fmla="*/ 139890 w 1697514"/>
                <a:gd name="connsiteY5" fmla="*/ 1844292 h 281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514" h="2819365">
                  <a:moveTo>
                    <a:pt x="1697514" y="0"/>
                  </a:moveTo>
                  <a:lnTo>
                    <a:pt x="1697514" y="1837030"/>
                  </a:lnTo>
                  <a:lnTo>
                    <a:pt x="1045452" y="2609099"/>
                  </a:lnTo>
                  <a:cubicBezTo>
                    <a:pt x="834257" y="2859163"/>
                    <a:pt x="460332" y="2890672"/>
                    <a:pt x="210267" y="2679477"/>
                  </a:cubicBezTo>
                  <a:lnTo>
                    <a:pt x="210268" y="2679478"/>
                  </a:lnTo>
                  <a:cubicBezTo>
                    <a:pt x="-39796" y="2468282"/>
                    <a:pt x="-71306" y="2094357"/>
                    <a:pt x="139890" y="1844292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8" name="iš1ïdé">
              <a:extLst>
                <a:ext uri="{FF2B5EF4-FFF2-40B4-BE49-F238E27FC236}">
                  <a16:creationId xmlns:a16="http://schemas.microsoft.com/office/drawing/2014/main" id="{2CA04BCD-7F71-4105-83C6-67D474785A06}"/>
                </a:ext>
              </a:extLst>
            </p:cNvPr>
            <p:cNvSpPr/>
            <p:nvPr userDrawn="1"/>
          </p:nvSpPr>
          <p:spPr>
            <a:xfrm>
              <a:off x="10073794" y="2366994"/>
              <a:ext cx="2118206" cy="3564196"/>
            </a:xfrm>
            <a:custGeom>
              <a:avLst/>
              <a:gdLst>
                <a:gd name="connsiteX0" fmla="*/ 2118206 w 2118206"/>
                <a:gd name="connsiteY0" fmla="*/ 0 h 3564196"/>
                <a:gd name="connsiteX1" fmla="*/ 2118206 w 2118206"/>
                <a:gd name="connsiteY1" fmla="*/ 2396948 h 3564196"/>
                <a:gd name="connsiteX2" fmla="*/ 1364100 w 2118206"/>
                <a:gd name="connsiteY2" fmla="*/ 3289841 h 3564196"/>
                <a:gd name="connsiteX3" fmla="*/ 274355 w 2118206"/>
                <a:gd name="connsiteY3" fmla="*/ 3381670 h 3564196"/>
                <a:gd name="connsiteX4" fmla="*/ 274356 w 2118206"/>
                <a:gd name="connsiteY4" fmla="*/ 3381671 h 3564196"/>
                <a:gd name="connsiteX5" fmla="*/ 182527 w 2118206"/>
                <a:gd name="connsiteY5" fmla="*/ 2291926 h 356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8206" h="3564196">
                  <a:moveTo>
                    <a:pt x="2118206" y="0"/>
                  </a:moveTo>
                  <a:lnTo>
                    <a:pt x="2118206" y="2396948"/>
                  </a:lnTo>
                  <a:lnTo>
                    <a:pt x="1364100" y="3289841"/>
                  </a:lnTo>
                  <a:cubicBezTo>
                    <a:pt x="1088533" y="3616123"/>
                    <a:pt x="600638" y="3657237"/>
                    <a:pt x="274355" y="3381670"/>
                  </a:cubicBezTo>
                  <a:lnTo>
                    <a:pt x="274356" y="3381671"/>
                  </a:lnTo>
                  <a:cubicBezTo>
                    <a:pt x="-51927" y="3106104"/>
                    <a:pt x="-93040" y="2618208"/>
                    <a:pt x="182527" y="229192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0" name="îSlíḑè">
              <a:extLst>
                <a:ext uri="{FF2B5EF4-FFF2-40B4-BE49-F238E27FC236}">
                  <a16:creationId xmlns:a16="http://schemas.microsoft.com/office/drawing/2014/main" id="{328C9D76-DBE1-49B5-AF7C-DD24A5B36F96}"/>
                </a:ext>
              </a:extLst>
            </p:cNvPr>
            <p:cNvSpPr/>
            <p:nvPr userDrawn="1"/>
          </p:nvSpPr>
          <p:spPr>
            <a:xfrm>
              <a:off x="5721772" y="0"/>
              <a:ext cx="6470228" cy="6074237"/>
            </a:xfrm>
            <a:custGeom>
              <a:avLst/>
              <a:gdLst>
                <a:gd name="connsiteX0" fmla="*/ 2441939 w 6470228"/>
                <a:gd name="connsiteY0" fmla="*/ 0 h 6074237"/>
                <a:gd name="connsiteX1" fmla="*/ 6470228 w 6470228"/>
                <a:gd name="connsiteY1" fmla="*/ 0 h 6074237"/>
                <a:gd name="connsiteX2" fmla="*/ 6470228 w 6470228"/>
                <a:gd name="connsiteY2" fmla="*/ 2453916 h 6074237"/>
                <a:gd name="connsiteX3" fmla="*/ 4110930 w 6470228"/>
                <a:gd name="connsiteY3" fmla="*/ 5247423 h 6074237"/>
                <a:gd name="connsiteX4" fmla="*/ 826815 w 6470228"/>
                <a:gd name="connsiteY4" fmla="*/ 5524165 h 6074237"/>
                <a:gd name="connsiteX5" fmla="*/ 826816 w 6470228"/>
                <a:gd name="connsiteY5" fmla="*/ 5524165 h 6074237"/>
                <a:gd name="connsiteX6" fmla="*/ 550073 w 6470228"/>
                <a:gd name="connsiteY6" fmla="*/ 2240050 h 607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0228" h="6074237">
                  <a:moveTo>
                    <a:pt x="2441939" y="0"/>
                  </a:moveTo>
                  <a:lnTo>
                    <a:pt x="6470228" y="0"/>
                  </a:lnTo>
                  <a:lnTo>
                    <a:pt x="6470228" y="2453916"/>
                  </a:lnTo>
                  <a:lnTo>
                    <a:pt x="4110930" y="5247423"/>
                  </a:lnTo>
                  <a:cubicBezTo>
                    <a:pt x="3280467" y="6230727"/>
                    <a:pt x="1810118" y="6354628"/>
                    <a:pt x="826815" y="5524165"/>
                  </a:cubicBezTo>
                  <a:lnTo>
                    <a:pt x="826816" y="5524165"/>
                  </a:lnTo>
                  <a:cubicBezTo>
                    <a:pt x="-156489" y="4693703"/>
                    <a:pt x="-280390" y="3223353"/>
                    <a:pt x="550073" y="2240050"/>
                  </a:cubicBez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892248"/>
            <a:ext cx="108457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19848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902213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4663F0D-3659-453D-9B02-B0E0591B44BB}"/>
              </a:ext>
            </a:extLst>
          </p:cNvPr>
          <p:cNvGrpSpPr/>
          <p:nvPr userDrawn="1"/>
        </p:nvGrpSpPr>
        <p:grpSpPr>
          <a:xfrm>
            <a:off x="11112501" y="4692303"/>
            <a:ext cx="1076284" cy="1986290"/>
            <a:chOff x="11761373" y="5661203"/>
            <a:chExt cx="427411" cy="788790"/>
          </a:xfrm>
        </p:grpSpPr>
        <p:sp>
          <p:nvSpPr>
            <p:cNvPr id="9" name="î$ľídé">
              <a:extLst>
                <a:ext uri="{FF2B5EF4-FFF2-40B4-BE49-F238E27FC236}">
                  <a16:creationId xmlns:a16="http://schemas.microsoft.com/office/drawing/2014/main" id="{12BDBF0A-7794-497A-B347-523784BA2A29}"/>
                </a:ext>
              </a:extLst>
            </p:cNvPr>
            <p:cNvSpPr/>
            <p:nvPr userDrawn="1"/>
          </p:nvSpPr>
          <p:spPr>
            <a:xfrm flipV="1">
              <a:off x="11845533" y="5881102"/>
              <a:ext cx="342524" cy="568891"/>
            </a:xfrm>
            <a:custGeom>
              <a:avLst/>
              <a:gdLst>
                <a:gd name="connsiteX0" fmla="*/ 1697514 w 1697514"/>
                <a:gd name="connsiteY0" fmla="*/ 0 h 2819365"/>
                <a:gd name="connsiteX1" fmla="*/ 1697514 w 1697514"/>
                <a:gd name="connsiteY1" fmla="*/ 1837030 h 2819365"/>
                <a:gd name="connsiteX2" fmla="*/ 1045452 w 1697514"/>
                <a:gd name="connsiteY2" fmla="*/ 2609099 h 2819365"/>
                <a:gd name="connsiteX3" fmla="*/ 210267 w 1697514"/>
                <a:gd name="connsiteY3" fmla="*/ 2679477 h 2819365"/>
                <a:gd name="connsiteX4" fmla="*/ 210268 w 1697514"/>
                <a:gd name="connsiteY4" fmla="*/ 2679478 h 2819365"/>
                <a:gd name="connsiteX5" fmla="*/ 139890 w 1697514"/>
                <a:gd name="connsiteY5" fmla="*/ 1844292 h 281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514" h="2819365">
                  <a:moveTo>
                    <a:pt x="1697514" y="0"/>
                  </a:moveTo>
                  <a:lnTo>
                    <a:pt x="1697514" y="1837030"/>
                  </a:lnTo>
                  <a:lnTo>
                    <a:pt x="1045452" y="2609099"/>
                  </a:lnTo>
                  <a:cubicBezTo>
                    <a:pt x="834257" y="2859163"/>
                    <a:pt x="460332" y="2890672"/>
                    <a:pt x="210267" y="2679477"/>
                  </a:cubicBezTo>
                  <a:lnTo>
                    <a:pt x="210268" y="2679478"/>
                  </a:lnTo>
                  <a:cubicBezTo>
                    <a:pt x="-39796" y="2468282"/>
                    <a:pt x="-71306" y="2094357"/>
                    <a:pt x="139890" y="1844292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iśľîḋé">
              <a:extLst>
                <a:ext uri="{FF2B5EF4-FFF2-40B4-BE49-F238E27FC236}">
                  <a16:creationId xmlns:a16="http://schemas.microsoft.com/office/drawing/2014/main" id="{B8EF53BF-186A-47C0-B18A-4E049A034B72}"/>
                </a:ext>
              </a:extLst>
            </p:cNvPr>
            <p:cNvSpPr/>
            <p:nvPr userDrawn="1"/>
          </p:nvSpPr>
          <p:spPr>
            <a:xfrm flipV="1">
              <a:off x="11761373" y="5661203"/>
              <a:ext cx="427411" cy="719183"/>
            </a:xfrm>
            <a:custGeom>
              <a:avLst/>
              <a:gdLst>
                <a:gd name="connsiteX0" fmla="*/ 2118206 w 2118206"/>
                <a:gd name="connsiteY0" fmla="*/ 0 h 3564196"/>
                <a:gd name="connsiteX1" fmla="*/ 2118206 w 2118206"/>
                <a:gd name="connsiteY1" fmla="*/ 2396948 h 3564196"/>
                <a:gd name="connsiteX2" fmla="*/ 1364100 w 2118206"/>
                <a:gd name="connsiteY2" fmla="*/ 3289841 h 3564196"/>
                <a:gd name="connsiteX3" fmla="*/ 274355 w 2118206"/>
                <a:gd name="connsiteY3" fmla="*/ 3381670 h 3564196"/>
                <a:gd name="connsiteX4" fmla="*/ 274356 w 2118206"/>
                <a:gd name="connsiteY4" fmla="*/ 3381671 h 3564196"/>
                <a:gd name="connsiteX5" fmla="*/ 182527 w 2118206"/>
                <a:gd name="connsiteY5" fmla="*/ 2291926 h 356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8206" h="3564196">
                  <a:moveTo>
                    <a:pt x="2118206" y="0"/>
                  </a:moveTo>
                  <a:lnTo>
                    <a:pt x="2118206" y="2396948"/>
                  </a:lnTo>
                  <a:lnTo>
                    <a:pt x="1364100" y="3289841"/>
                  </a:lnTo>
                  <a:cubicBezTo>
                    <a:pt x="1088533" y="3616123"/>
                    <a:pt x="600638" y="3657237"/>
                    <a:pt x="274355" y="3381670"/>
                  </a:cubicBezTo>
                  <a:lnTo>
                    <a:pt x="274356" y="3381671"/>
                  </a:lnTo>
                  <a:cubicBezTo>
                    <a:pt x="-51927" y="3106104"/>
                    <a:pt x="-93040" y="2618208"/>
                    <a:pt x="182527" y="229192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B1C2309-2FFF-4106-8C5F-C5C1628C054F}"/>
              </a:ext>
            </a:extLst>
          </p:cNvPr>
          <p:cNvGrpSpPr/>
          <p:nvPr userDrawn="1"/>
        </p:nvGrpSpPr>
        <p:grpSpPr>
          <a:xfrm>
            <a:off x="9724571" y="535076"/>
            <a:ext cx="1795916" cy="404220"/>
            <a:chOff x="1071789" y="916886"/>
            <a:chExt cx="2217511" cy="499112"/>
          </a:xfrm>
        </p:grpSpPr>
        <p:grpSp>
          <p:nvGrpSpPr>
            <p:cNvPr id="12" name="ï$ļidê">
              <a:extLst>
                <a:ext uri="{FF2B5EF4-FFF2-40B4-BE49-F238E27FC236}">
                  <a16:creationId xmlns:a16="http://schemas.microsoft.com/office/drawing/2014/main" id="{8C9E18A8-FCAF-41BD-B1CD-4524C70AEDA0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23" name="îšḻïďe">
                <a:extLst>
                  <a:ext uri="{FF2B5EF4-FFF2-40B4-BE49-F238E27FC236}">
                    <a16:creationId xmlns:a16="http://schemas.microsoft.com/office/drawing/2014/main" id="{2020216F-13DC-4696-95C2-A668999922E5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îṥľide">
                <a:extLst>
                  <a:ext uri="{FF2B5EF4-FFF2-40B4-BE49-F238E27FC236}">
                    <a16:creationId xmlns:a16="http://schemas.microsoft.com/office/drawing/2014/main" id="{4856863A-A215-4EF9-BC82-326846F49742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ş1íḑé">
                <a:extLst>
                  <a:ext uri="{FF2B5EF4-FFF2-40B4-BE49-F238E27FC236}">
                    <a16:creationId xmlns:a16="http://schemas.microsoft.com/office/drawing/2014/main" id="{BEEDAA68-58EA-41CB-975B-A1A655F598C2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íSḷîḑe">
                <a:extLst>
                  <a:ext uri="{FF2B5EF4-FFF2-40B4-BE49-F238E27FC236}">
                    <a16:creationId xmlns:a16="http://schemas.microsoft.com/office/drawing/2014/main" id="{968377F3-6980-45C2-933B-C61B6141A0A4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íṡḻîḋe">
                <a:extLst>
                  <a:ext uri="{FF2B5EF4-FFF2-40B4-BE49-F238E27FC236}">
                    <a16:creationId xmlns:a16="http://schemas.microsoft.com/office/drawing/2014/main" id="{730D1AB7-7181-4FD8-A924-9AFB731B834F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îṩļïdê">
                <a:extLst>
                  <a:ext uri="{FF2B5EF4-FFF2-40B4-BE49-F238E27FC236}">
                    <a16:creationId xmlns:a16="http://schemas.microsoft.com/office/drawing/2014/main" id="{DD750A71-B266-4493-BB94-2A3DB893621A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íśļiḋé">
                <a:extLst>
                  <a:ext uri="{FF2B5EF4-FFF2-40B4-BE49-F238E27FC236}">
                    <a16:creationId xmlns:a16="http://schemas.microsoft.com/office/drawing/2014/main" id="{13D21F53-5CEF-443C-A4DA-2FEB9C95A471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íṩḷíḑe">
                <a:extLst>
                  <a:ext uri="{FF2B5EF4-FFF2-40B4-BE49-F238E27FC236}">
                    <a16:creationId xmlns:a16="http://schemas.microsoft.com/office/drawing/2014/main" id="{0F1CEC88-039E-48F8-832E-2238284FB1AA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ṧļiḓé">
                <a:extLst>
                  <a:ext uri="{FF2B5EF4-FFF2-40B4-BE49-F238E27FC236}">
                    <a16:creationId xmlns:a16="http://schemas.microsoft.com/office/drawing/2014/main" id="{E90146A6-7804-407C-AEC6-0B81EEFCAF6E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Slïḍè">
                <a:extLst>
                  <a:ext uri="{FF2B5EF4-FFF2-40B4-BE49-F238E27FC236}">
                    <a16:creationId xmlns:a16="http://schemas.microsoft.com/office/drawing/2014/main" id="{44AC6217-551F-413C-AE59-9500B1B20369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33" name="íšlíḍé">
                <a:extLst>
                  <a:ext uri="{FF2B5EF4-FFF2-40B4-BE49-F238E27FC236}">
                    <a16:creationId xmlns:a16="http://schemas.microsoft.com/office/drawing/2014/main" id="{BD1004DF-F7C8-489C-9860-E02ABC1E9422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îšḻidè">
                <a:extLst>
                  <a:ext uri="{FF2B5EF4-FFF2-40B4-BE49-F238E27FC236}">
                    <a16:creationId xmlns:a16="http://schemas.microsoft.com/office/drawing/2014/main" id="{5C0ABEEF-C80B-4328-B97F-45A97818619D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sḷide">
                <a:extLst>
                  <a:ext uri="{FF2B5EF4-FFF2-40B4-BE49-F238E27FC236}">
                    <a16:creationId xmlns:a16="http://schemas.microsoft.com/office/drawing/2014/main" id="{A42388AA-45FE-435C-9892-C565170E96C5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işḷïḍé">
                <a:extLst>
                  <a:ext uri="{FF2B5EF4-FFF2-40B4-BE49-F238E27FC236}">
                    <a16:creationId xmlns:a16="http://schemas.microsoft.com/office/drawing/2014/main" id="{2A14E0B6-EDF6-4127-B492-06B91A754820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ṡḷïde">
                <a:extLst>
                  <a:ext uri="{FF2B5EF4-FFF2-40B4-BE49-F238E27FC236}">
                    <a16:creationId xmlns:a16="http://schemas.microsoft.com/office/drawing/2014/main" id="{EF802D0D-499C-47A6-A1B0-3961FF9051EF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ṩḷiďè">
                <a:extLst>
                  <a:ext uri="{FF2B5EF4-FFF2-40B4-BE49-F238E27FC236}">
                    <a16:creationId xmlns:a16="http://schemas.microsoft.com/office/drawing/2014/main" id="{74AE230F-AC3D-4A53-AE8A-7E18101501CD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$1iḓê">
                <a:extLst>
                  <a:ext uri="{FF2B5EF4-FFF2-40B4-BE49-F238E27FC236}">
                    <a16:creationId xmlns:a16="http://schemas.microsoft.com/office/drawing/2014/main" id="{AC26B1B2-172F-4767-81DD-D5E79A272EB9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3" name="iṡlïḓè">
              <a:extLst>
                <a:ext uri="{FF2B5EF4-FFF2-40B4-BE49-F238E27FC236}">
                  <a16:creationId xmlns:a16="http://schemas.microsoft.com/office/drawing/2014/main" id="{3A123B05-5123-4065-A6F1-D94F4C54EA7A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17" name="iSḷiḋé">
                <a:extLst>
                  <a:ext uri="{FF2B5EF4-FFF2-40B4-BE49-F238E27FC236}">
                    <a16:creationId xmlns:a16="http://schemas.microsoft.com/office/drawing/2014/main" id="{CA21DADE-6C88-4DE0-921E-9D7880634D2E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ṥḻiḑé">
                <a:extLst>
                  <a:ext uri="{FF2B5EF4-FFF2-40B4-BE49-F238E27FC236}">
                    <a16:creationId xmlns:a16="http://schemas.microsoft.com/office/drawing/2014/main" id="{94C141F2-8A22-4CE3-A217-7A04BA6BE59D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ṡľîḑe">
                <a:extLst>
                  <a:ext uri="{FF2B5EF4-FFF2-40B4-BE49-F238E27FC236}">
                    <a16:creationId xmlns:a16="http://schemas.microsoft.com/office/drawing/2014/main" id="{BCB653DF-DBBB-42DE-A7CD-7FDFF4B8C197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ïṧḷïḑé">
                <a:extLst>
                  <a:ext uri="{FF2B5EF4-FFF2-40B4-BE49-F238E27FC236}">
                    <a16:creationId xmlns:a16="http://schemas.microsoft.com/office/drawing/2014/main" id="{BA2BC783-0B6A-46E0-912C-80F52E3D9723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ṧ1íḓê">
                <a:extLst>
                  <a:ext uri="{FF2B5EF4-FFF2-40B4-BE49-F238E27FC236}">
                    <a16:creationId xmlns:a16="http://schemas.microsoft.com/office/drawing/2014/main" id="{686DF4BA-E100-46AD-AC23-D067EED6D087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iSlïḓè">
                <a:extLst>
                  <a:ext uri="{FF2B5EF4-FFF2-40B4-BE49-F238E27FC236}">
                    <a16:creationId xmlns:a16="http://schemas.microsoft.com/office/drawing/2014/main" id="{EB2B06D5-E044-4959-83C6-891C600B5A5C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iṧlide">
              <a:extLst>
                <a:ext uri="{FF2B5EF4-FFF2-40B4-BE49-F238E27FC236}">
                  <a16:creationId xmlns:a16="http://schemas.microsoft.com/office/drawing/2014/main" id="{B5351CA5-66BA-4D67-9DEE-CDF81A876F0F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15" name="ïṩ1ïdé">
                <a:extLst>
                  <a:ext uri="{FF2B5EF4-FFF2-40B4-BE49-F238E27FC236}">
                    <a16:creationId xmlns:a16="http://schemas.microsoft.com/office/drawing/2014/main" id="{E50CD631-F237-444C-8970-66AE986F2225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iṥḷíḍé">
                <a:extLst>
                  <a:ext uri="{FF2B5EF4-FFF2-40B4-BE49-F238E27FC236}">
                    <a16:creationId xmlns:a16="http://schemas.microsoft.com/office/drawing/2014/main" id="{96FBC146-AB38-454E-88F0-C42C58B6692B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şļî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ļiḋ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şḷïḋ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ṣlí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ṣḷîḑè"/>
          <p:cNvSpPr>
            <a:spLocks noGrp="1"/>
          </p:cNvSpPr>
          <p:nvPr>
            <p:ph type="ctrTitle"/>
          </p:nvPr>
        </p:nvSpPr>
        <p:spPr>
          <a:xfrm>
            <a:off x="673100" y="816601"/>
            <a:ext cx="10845800" cy="2574000"/>
          </a:xfrm>
        </p:spPr>
        <p:txBody>
          <a:bodyPr/>
          <a:lstStyle/>
          <a:p>
            <a:pPr algn="ctr" fontAlgn="b">
              <a:lnSpc>
                <a:spcPct val="100000"/>
              </a:lnSpc>
            </a:pPr>
            <a:r>
              <a:rPr lang="zh-CN" altLang="en-US" b="1"/>
              <a:t>基于</a:t>
            </a:r>
            <a:r>
              <a:rPr lang="en-US" altLang="zh-CN" b="1"/>
              <a:t>Rust</a:t>
            </a:r>
            <a:r>
              <a:rPr lang="zh-CN" altLang="en-US" b="1"/>
              <a:t>异步机制的嵌入式操作系统调度模块</a:t>
            </a:r>
            <a:r>
              <a:rPr lang="en-US" altLang="zh-CN" b="1"/>
              <a:t>embassy_preempt</a:t>
            </a:r>
            <a:br>
              <a:rPr lang="en-US" altLang="zh-CN"/>
            </a:br>
            <a:r>
              <a:rPr lang="zh-CN" altLang="en-US" sz="100" b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zh-CN" altLang="en-US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27" name="îṣḷíḍe">
            <a:extLst>
              <a:ext uri="{FF2B5EF4-FFF2-40B4-BE49-F238E27FC236}">
                <a16:creationId xmlns:a16="http://schemas.microsoft.com/office/drawing/2014/main" id="{A50B12E8-4845-4EF0-AA11-DCE225904AEB}"/>
              </a:ext>
            </a:extLst>
          </p:cNvPr>
          <p:cNvCxnSpPr>
            <a:cxnSpLocks/>
          </p:cNvCxnSpPr>
          <p:nvPr/>
        </p:nvCxnSpPr>
        <p:spPr>
          <a:xfrm>
            <a:off x="836158" y="3432629"/>
            <a:ext cx="10519683" cy="0"/>
          </a:xfrm>
          <a:prstGeom prst="line">
            <a:avLst/>
          </a:prstGeom>
          <a:ln w="603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副标题 2">
            <a:extLst>
              <a:ext uri="{FF2B5EF4-FFF2-40B4-BE49-F238E27FC236}">
                <a16:creationId xmlns:a16="http://schemas.microsoft.com/office/drawing/2014/main" id="{D3A17E56-FCE3-B3DE-B28A-51ECE586D300}"/>
              </a:ext>
            </a:extLst>
          </p:cNvPr>
          <p:cNvSpPr txBox="1">
            <a:spLocks/>
          </p:cNvSpPr>
          <p:nvPr/>
        </p:nvSpPr>
        <p:spPr>
          <a:xfrm>
            <a:off x="1221830" y="3753739"/>
            <a:ext cx="9748337" cy="134099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2000" kern="1200" cap="none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660874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汇报人：</a:t>
            </a:r>
            <a:r>
              <a:rPr lang="zh-CN" altLang="en-US" dirty="0">
                <a:solidFill>
                  <a:schemeClr val="accent1">
                    <a:lumMod val="50000"/>
                  </a:schemeClr>
                </a:solidFill>
                <a:latin typeface="Gill Sans MT" panose="020B0502020104020203"/>
                <a:ea typeface="华文中宋" panose="02010600040101010101" pitchFamily="2" charset="-122"/>
              </a:rPr>
              <a:t>杨长轲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      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指导老师：向  勇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Gill Sans MT" panose="020B0502020104020203"/>
              <a:ea typeface="华文中宋" panose="02010600040101010101" pitchFamily="2" charset="-122"/>
              <a:cs typeface="+mn-cs"/>
            </a:endParaRP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660874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2025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年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05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24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日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Gill Sans MT" panose="020B0502020104020203"/>
              <a:ea typeface="华文中宋" panose="02010600040101010101" pitchFamily="2" charset="-122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68F7F8B9-F6AE-46BE-9717-FD65CD8F2E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8EC5E891-0164-3799-A032-8311FB48C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en-US" altLang="zh-CN" sz="3200" dirty="0" err="1">
                <a:solidFill>
                  <a:schemeClr val="accent1">
                    <a:lumMod val="50000"/>
                  </a:schemeClr>
                </a:solidFill>
              </a:rPr>
              <a:t>PenSV</a:t>
            </a:r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异常中断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495B16A8-46BE-0440-3C84-3EAE6317C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0DA4FD9E-C54A-EC8C-AE54-D84E12481E5A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6067593-9678-0671-E7D6-DDB372B88AE3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7405318C-C7B3-11D1-ED72-729B295D2A89}"/>
              </a:ext>
            </a:extLst>
          </p:cNvPr>
          <p:cNvSpPr txBox="1"/>
          <p:nvPr/>
        </p:nvSpPr>
        <p:spPr>
          <a:xfrm>
            <a:off x="598761" y="2692708"/>
            <a:ext cx="4805996" cy="369331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 rtlCol="0">
            <a:spAutoFit/>
          </a:bodyPr>
          <a:lstStyle/>
          <a:p>
            <a:r>
              <a:rPr lang="zh-CN" altLang="en-US" dirty="0">
                <a:latin typeface="+mn-ea"/>
              </a:rPr>
              <a:t>      如果进入</a:t>
            </a:r>
            <a:r>
              <a:rPr lang="en-US" altLang="zh-CN" dirty="0" err="1">
                <a:latin typeface="+mn-ea"/>
              </a:rPr>
              <a:t>PenSV</a:t>
            </a:r>
            <a:r>
              <a:rPr lang="zh-CN" altLang="en-US" dirty="0">
                <a:latin typeface="+mn-ea"/>
              </a:rPr>
              <a:t>中断时任务是无栈正常</a:t>
            </a:r>
            <a:r>
              <a:rPr lang="en-US" altLang="zh-CN" dirty="0">
                <a:latin typeface="+mn-ea"/>
              </a:rPr>
              <a:t>await</a:t>
            </a:r>
            <a:r>
              <a:rPr lang="zh-CN" altLang="en-US" dirty="0">
                <a:latin typeface="+mn-ea"/>
              </a:rPr>
              <a:t>让权出来，并且在恢复一个有栈的任务，那么就需要</a:t>
            </a:r>
            <a:r>
              <a:rPr lang="en-US" altLang="zh-CN" dirty="0">
                <a:latin typeface="+mn-ea"/>
              </a:rPr>
              <a:t>drop</a:t>
            </a:r>
            <a:r>
              <a:rPr lang="zh-CN" altLang="en-US" dirty="0">
                <a:latin typeface="+mn-ea"/>
              </a:rPr>
              <a:t>掉当前协程任务共用的程序栈，转而使用恢复了栈的任务的栈，并且回收掉之前使用的程序栈，最后恢复最高优先级任务执行。</a:t>
            </a:r>
          </a:p>
          <a:p>
            <a:r>
              <a:rPr lang="zh-CN" altLang="en-US" dirty="0">
                <a:latin typeface="+mn-ea"/>
              </a:rPr>
              <a:t>      而如果进入</a:t>
            </a:r>
            <a:r>
              <a:rPr lang="en-US" altLang="zh-CN" dirty="0" err="1">
                <a:latin typeface="+mn-ea"/>
              </a:rPr>
              <a:t>PenSV</a:t>
            </a:r>
            <a:r>
              <a:rPr lang="zh-CN" altLang="en-US" dirty="0">
                <a:latin typeface="+mn-ea"/>
              </a:rPr>
              <a:t>中断是由于任务抢占导致的，那么需要将当前的程序栈从协程任务共享的栈变成当前</a:t>
            </a:r>
            <a:r>
              <a:rPr lang="en-US" altLang="zh-CN" dirty="0">
                <a:latin typeface="+mn-ea"/>
              </a:rPr>
              <a:t>interrupt</a:t>
            </a:r>
            <a:r>
              <a:rPr lang="zh-CN" altLang="en-US" dirty="0">
                <a:latin typeface="+mn-ea"/>
              </a:rPr>
              <a:t>私有的栈，然后将程序栈换成待调度的最高优先级的任务的栈，同时需要将任务的</a:t>
            </a:r>
            <a:r>
              <a:rPr lang="en-US" altLang="zh-CN" dirty="0" err="1">
                <a:latin typeface="+mn-ea"/>
              </a:rPr>
              <a:t>psp</a:t>
            </a:r>
            <a:r>
              <a:rPr lang="zh-CN" altLang="en-US" dirty="0">
                <a:latin typeface="+mn-ea"/>
              </a:rPr>
              <a:t>栈保存到任务</a:t>
            </a:r>
            <a:r>
              <a:rPr lang="en-US" altLang="zh-CN" dirty="0" err="1">
                <a:latin typeface="+mn-ea"/>
              </a:rPr>
              <a:t>TCB</a:t>
            </a:r>
            <a:r>
              <a:rPr lang="zh-CN" altLang="en-US" dirty="0">
                <a:latin typeface="+mn-ea"/>
              </a:rPr>
              <a:t>的栈指针上，最后同样的也是恢复最高优先级任务执行。</a:t>
            </a:r>
          </a:p>
        </p:txBody>
      </p:sp>
      <p:sp>
        <p:nvSpPr>
          <p:cNvPr id="23" name="ï$ḻïḋê">
            <a:extLst>
              <a:ext uri="{FF2B5EF4-FFF2-40B4-BE49-F238E27FC236}">
                <a16:creationId xmlns:a16="http://schemas.microsoft.com/office/drawing/2014/main" id="{E79DEE05-4EFD-E429-BB7C-1663EA156729}"/>
              </a:ext>
            </a:extLst>
          </p:cNvPr>
          <p:cNvSpPr txBox="1"/>
          <p:nvPr/>
        </p:nvSpPr>
        <p:spPr bwMode="auto">
          <a:xfrm>
            <a:off x="156383" y="1614737"/>
            <a:ext cx="5390977" cy="911596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000" dirty="0"/>
              <a:t>软中断</a:t>
            </a:r>
            <a:r>
              <a:rPr lang="en-US" altLang="zh-CN" sz="2000" dirty="0" err="1"/>
              <a:t>PenSV</a:t>
            </a:r>
            <a:endParaRPr lang="en-US" altLang="zh-CN" sz="2000" dirty="0"/>
          </a:p>
          <a:p>
            <a:pPr>
              <a:buSzPct val="60000"/>
            </a:pPr>
            <a:r>
              <a:rPr lang="zh-CN" altLang="en-US" sz="2000" dirty="0"/>
              <a:t>对最后中断唤醒后的最高优先级任务进行切换，涉及可能的栈回收</a:t>
            </a:r>
            <a:endParaRPr lang="en-US" altLang="zh-CN" sz="24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48CC529-B98E-F2B9-0C0E-3276AC6F91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1503" y="1018404"/>
            <a:ext cx="5238192" cy="55774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057397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76237961-3B94-FCD4-9A85-5ADA2E10F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0B177FA4-82DF-AAEE-FAFA-C7EBF609BF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时钟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709457E3-BF99-8219-E231-FE9316DA8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41F001F7-24BF-00E0-B78D-56FEF4EECC1D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BBA893D-19E5-71FF-4E6F-1B4D30320C96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CE25E07-BFFC-4E6A-F9DF-B1EABB9A4E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8949" y="1649563"/>
            <a:ext cx="5523299" cy="427067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D07FA6B9-BDB6-A07E-AF64-ACCA64E2D8A2}"/>
              </a:ext>
            </a:extLst>
          </p:cNvPr>
          <p:cNvSpPr txBox="1"/>
          <p:nvPr/>
        </p:nvSpPr>
        <p:spPr>
          <a:xfrm>
            <a:off x="909355" y="2753668"/>
            <a:ext cx="3479766" cy="258532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 rtlCol="0">
            <a:spAutoFit/>
          </a:bodyPr>
          <a:lstStyle/>
          <a:p>
            <a:r>
              <a:rPr lang="zh-CN" altLang="en-US" dirty="0">
                <a:latin typeface="+mn-ea"/>
              </a:rPr>
              <a:t>当异步任务主动让权，会根据抵达时间前后加入时钟队列，而时钟队列会将最近抵达的任务，向时钟驱动注册一个</a:t>
            </a:r>
            <a:r>
              <a:rPr lang="en-US" altLang="zh-CN" dirty="0">
                <a:latin typeface="+mn-ea"/>
              </a:rPr>
              <a:t>alarm</a:t>
            </a:r>
            <a:r>
              <a:rPr lang="zh-CN" altLang="en-US" dirty="0">
                <a:latin typeface="+mn-ea"/>
              </a:rPr>
              <a:t>，当</a:t>
            </a:r>
            <a:r>
              <a:rPr lang="en-US" altLang="zh-CN" dirty="0">
                <a:latin typeface="+mn-ea"/>
              </a:rPr>
              <a:t>alarm</a:t>
            </a:r>
            <a:r>
              <a:rPr lang="zh-CN" altLang="en-US" dirty="0">
                <a:latin typeface="+mn-ea"/>
              </a:rPr>
              <a:t>到达，意味着有任务被唤醒，底层实际上是定时器的捕获中断，将会调用回调函数，加入就绪队列，如果优先级比当前任务高则实施抢占。</a:t>
            </a:r>
          </a:p>
        </p:txBody>
      </p:sp>
      <p:sp>
        <p:nvSpPr>
          <p:cNvPr id="10" name="ï$ḻïḋê">
            <a:extLst>
              <a:ext uri="{FF2B5EF4-FFF2-40B4-BE49-F238E27FC236}">
                <a16:creationId xmlns:a16="http://schemas.microsoft.com/office/drawing/2014/main" id="{8958C599-C4F8-9A90-8422-692DFC9EBBE1}"/>
              </a:ext>
            </a:extLst>
          </p:cNvPr>
          <p:cNvSpPr txBox="1"/>
          <p:nvPr/>
        </p:nvSpPr>
        <p:spPr bwMode="auto">
          <a:xfrm>
            <a:off x="819752" y="2091661"/>
            <a:ext cx="4301317" cy="747423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000" dirty="0"/>
              <a:t>任务主动让权转入休眠</a:t>
            </a:r>
            <a:endParaRPr lang="en-US" altLang="zh-CN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61125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159755B4-15F0-E6E3-6F45-58E880C2F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9ECA6522-59B1-FC2A-7213-3DBC7E13C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115924"/>
            <a:ext cx="4278834" cy="565343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测试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AECB318F-D7EC-83E4-486F-EF0BBA570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6417776A-8DA3-7574-C1D1-1A9201E4945D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0D15AF3-E8BA-02E9-433F-6EFE4CCEA9B5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19B180B5-94C3-0E27-58E9-A030B1C66E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6154893"/>
              </p:ext>
            </p:extLst>
          </p:nvPr>
        </p:nvGraphicFramePr>
        <p:xfrm>
          <a:off x="239660" y="2042148"/>
          <a:ext cx="4841675" cy="3929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图表 11">
            <a:extLst>
              <a:ext uri="{FF2B5EF4-FFF2-40B4-BE49-F238E27FC236}">
                <a16:creationId xmlns:a16="http://schemas.microsoft.com/office/drawing/2014/main" id="{532691CC-F13A-5CB0-82BE-54E0F8FC98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4226041"/>
              </p:ext>
            </p:extLst>
          </p:nvPr>
        </p:nvGraphicFramePr>
        <p:xfrm>
          <a:off x="5348194" y="1773471"/>
          <a:ext cx="6692857" cy="4466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文本框 13">
            <a:extLst>
              <a:ext uri="{FF2B5EF4-FFF2-40B4-BE49-F238E27FC236}">
                <a16:creationId xmlns:a16="http://schemas.microsoft.com/office/drawing/2014/main" id="{A385B5A3-E01D-7330-4D88-B993D9AAE922}"/>
              </a:ext>
            </a:extLst>
          </p:cNvPr>
          <p:cNvSpPr txBox="1"/>
          <p:nvPr/>
        </p:nvSpPr>
        <p:spPr>
          <a:xfrm>
            <a:off x="1192473" y="1394716"/>
            <a:ext cx="32566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dirty="0"/>
              <a:t>实时性测试</a:t>
            </a:r>
            <a:endParaRPr lang="en-US" altLang="zh-CN" sz="18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FDE4881A-0C8A-7AE4-9276-7A940EB22013}"/>
              </a:ext>
            </a:extLst>
          </p:cNvPr>
          <p:cNvSpPr txBox="1"/>
          <p:nvPr/>
        </p:nvSpPr>
        <p:spPr>
          <a:xfrm>
            <a:off x="7561428" y="1382424"/>
            <a:ext cx="32566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dirty="0"/>
              <a:t>调度时间测试</a:t>
            </a:r>
            <a:endParaRPr lang="en-US" altLang="zh-CN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9115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ľîḓê">
          <a:extLst>
            <a:ext uri="{FF2B5EF4-FFF2-40B4-BE49-F238E27FC236}">
              <a16:creationId xmlns:a16="http://schemas.microsoft.com/office/drawing/2014/main" id="{266792A0-5CC7-D60F-D971-CE24C94617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>
            <a:extLst>
              <a:ext uri="{FF2B5EF4-FFF2-40B4-BE49-F238E27FC236}">
                <a16:creationId xmlns:a16="http://schemas.microsoft.com/office/drawing/2014/main" id="{FDE84B70-4DF4-2885-DE87-51199AF4C2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0259" y="2401381"/>
            <a:ext cx="3002222" cy="895350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>
              <a:buSzPct val="80000"/>
            </a:pPr>
            <a:r>
              <a:rPr lang="zh-CN" altLang="en-US" sz="6000" dirty="0"/>
              <a:t>个人工作</a:t>
            </a:r>
            <a:endParaRPr lang="en-US" altLang="zh-CN" sz="6000" dirty="0"/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3BA72E49-2F35-C3FF-C7D5-4A7107F118B0}"/>
              </a:ext>
            </a:extLst>
          </p:cNvPr>
          <p:cNvSpPr txBox="1"/>
          <p:nvPr/>
        </p:nvSpPr>
        <p:spPr>
          <a:xfrm>
            <a:off x="4196392" y="240682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2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8581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D93E1FDF-1634-84FE-A34F-5A75907802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33385AA9-7416-04E3-474D-5CF298D36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底层函数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83547EB4-C703-E240-0394-DFD0B8169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82254503-2F24-5A26-0241-1AD1343A7E02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6D96E52-0E57-A945-4358-663222811339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1DFA7EC-3C68-CB48-2EB8-B75FED712D68}"/>
              </a:ext>
            </a:extLst>
          </p:cNvPr>
          <p:cNvSpPr txBox="1"/>
          <p:nvPr/>
        </p:nvSpPr>
        <p:spPr>
          <a:xfrm>
            <a:off x="598761" y="2563701"/>
            <a:ext cx="327175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调度锁</a:t>
            </a:r>
            <a:endParaRPr lang="en-US" altLang="zh-CN" sz="2800" b="1" dirty="0">
              <a:latin typeface="Arial" panose="020B0604020202020204" pitchFamily="34" charset="0"/>
              <a:ea typeface="微软雅黑" panose="020B0503020204020204" pitchFamily="34" charset="-122"/>
              <a:cs typeface="+mn-ea"/>
            </a:endParaRP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任务删除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任务优先级修改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Event</a:t>
            </a: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重写</a:t>
            </a:r>
            <a:endParaRPr lang="en-US" altLang="zh-CN" sz="2800" b="1" dirty="0">
              <a:latin typeface="Arial" panose="020B0604020202020204" pitchFamily="34" charset="0"/>
              <a:ea typeface="微软雅黑" panose="020B0503020204020204" pitchFamily="34" charset="-122"/>
              <a:cs typeface="+mn-ea"/>
            </a:endParaRP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信号量</a:t>
            </a:r>
            <a:endParaRPr lang="en-US" altLang="zh-CN" sz="2800" b="1" dirty="0">
              <a:latin typeface="Arial" panose="020B0604020202020204" pitchFamily="34" charset="0"/>
              <a:ea typeface="微软雅黑" panose="020B0503020204020204" pitchFamily="34" charset="-122"/>
              <a:cs typeface="+mn-ea"/>
            </a:endParaRPr>
          </a:p>
          <a:p>
            <a:pPr>
              <a:buSzPct val="60000"/>
            </a:pPr>
            <a:r>
              <a:rPr lang="en-US" altLang="zh-CN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…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BD80A4B5-C3A5-D7DE-4137-6ED022A0D8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3638" y="968297"/>
            <a:ext cx="4070070" cy="3910057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4927C457-5DC3-00FE-BBB7-A3E9AE3618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1121" y="1933228"/>
            <a:ext cx="4070071" cy="3656366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599C44C2-6169-6D3C-E5C5-E21FF39346BC}"/>
              </a:ext>
            </a:extLst>
          </p:cNvPr>
          <p:cNvSpPr txBox="1"/>
          <p:nvPr/>
        </p:nvSpPr>
        <p:spPr>
          <a:xfrm>
            <a:off x="9407299" y="2072759"/>
            <a:ext cx="10598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60000"/>
            </a:pPr>
            <a:r>
              <a:rPr lang="en-US" altLang="zh-CN" sz="1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…</a:t>
            </a: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E80E28A2-6F47-8B86-B165-5275E569F4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63638" y="5089101"/>
            <a:ext cx="4949162" cy="14654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97056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F191E67F-DF3A-2516-18BB-4910114007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3FFCFE6B-7678-2C9E-FB04-A2256BCBF6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3659" y="1649563"/>
            <a:ext cx="7219950" cy="3314700"/>
          </a:xfrm>
          <a:prstGeom prst="rect">
            <a:avLst/>
          </a:prstGeom>
        </p:spPr>
      </p:pic>
      <p:sp>
        <p:nvSpPr>
          <p:cNvPr id="2" name="i$ļïḋé">
            <a:extLst>
              <a:ext uri="{FF2B5EF4-FFF2-40B4-BE49-F238E27FC236}">
                <a16:creationId xmlns:a16="http://schemas.microsoft.com/office/drawing/2014/main" id="{47BD9D57-B48C-2260-9A1C-BEE4990F4C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组件化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47D20FEE-A767-ADBE-53F7-463ACF269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6434687F-36BD-A00B-5EEE-2866E7F9A9BA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D9326FD-27EF-F416-5844-DD3AA067939C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ï$ḻïḋê">
            <a:extLst>
              <a:ext uri="{FF2B5EF4-FFF2-40B4-BE49-F238E27FC236}">
                <a16:creationId xmlns:a16="http://schemas.microsoft.com/office/drawing/2014/main" id="{48B948E3-65D9-BAA2-D134-C13875702D81}"/>
              </a:ext>
            </a:extLst>
          </p:cNvPr>
          <p:cNvSpPr txBox="1"/>
          <p:nvPr/>
        </p:nvSpPr>
        <p:spPr bwMode="auto">
          <a:xfrm>
            <a:off x="522561" y="4541809"/>
            <a:ext cx="5573439" cy="1905035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/>
              <a:t>executor</a:t>
            </a:r>
            <a:r>
              <a:rPr lang="zh-CN" altLang="en-US" sz="2400" dirty="0"/>
              <a:t>：调度器核心代码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/>
              <a:t>port</a:t>
            </a:r>
            <a:r>
              <a:rPr lang="zh-CN" altLang="en-US" sz="2400" dirty="0"/>
              <a:t>：时钟驱动及架构相关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 err="1"/>
              <a:t>cfg</a:t>
            </a:r>
            <a:r>
              <a:rPr lang="zh-CN" altLang="en-US" sz="2400" dirty="0"/>
              <a:t>：</a:t>
            </a:r>
            <a:r>
              <a:rPr lang="en-US" altLang="zh-CN" sz="2400" dirty="0" err="1"/>
              <a:t>os</a:t>
            </a:r>
            <a:r>
              <a:rPr lang="zh-CN" altLang="en-US" sz="2400" dirty="0"/>
              <a:t>配置及定义代码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/>
              <a:t>cell</a:t>
            </a:r>
            <a:r>
              <a:rPr lang="zh-CN" altLang="en-US" sz="2400" dirty="0"/>
              <a:t>：所需要用到的 </a:t>
            </a:r>
            <a:r>
              <a:rPr lang="en-US" altLang="zh-CN" sz="2400" dirty="0"/>
              <a:t>Cell </a:t>
            </a:r>
            <a:r>
              <a:rPr lang="zh-CN" altLang="en-US" sz="2400" dirty="0"/>
              <a:t>的上层封装</a:t>
            </a:r>
            <a:endParaRPr lang="en-US" altLang="zh-CN" sz="24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/>
              <a:t>event</a:t>
            </a:r>
            <a:r>
              <a:rPr lang="zh-CN" altLang="en-US" sz="2400" dirty="0"/>
              <a:t>：事件机制底层及上层实现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endParaRPr lang="en-US" altLang="zh-CN" sz="24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endParaRPr lang="zh-CN" altLang="en-US" sz="2400" dirty="0"/>
          </a:p>
          <a:p>
            <a:pPr marL="457200" indent="-457200">
              <a:buFont typeface="Wingdings" panose="05000000000000000000" pitchFamily="2" charset="2"/>
              <a:buChar char="n"/>
            </a:pPr>
            <a:endParaRPr lang="en-US" altLang="zh-CN" sz="3600" dirty="0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DAD37130-200F-FD46-BAE0-DC33D0ACA4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8277" y="1110343"/>
            <a:ext cx="3197779" cy="31139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730538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ľîḓê">
          <a:extLst>
            <a:ext uri="{FF2B5EF4-FFF2-40B4-BE49-F238E27FC236}">
              <a16:creationId xmlns:a16="http://schemas.microsoft.com/office/drawing/2014/main" id="{2C1A770D-1EE1-DD06-7EA6-51EA6C2B81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>
            <a:extLst>
              <a:ext uri="{FF2B5EF4-FFF2-40B4-BE49-F238E27FC236}">
                <a16:creationId xmlns:a16="http://schemas.microsoft.com/office/drawing/2014/main" id="{2B2ADEC3-BD49-471E-7AE5-7139EC022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0259" y="2401381"/>
            <a:ext cx="3002222" cy="895350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>
              <a:buSzPct val="80000"/>
            </a:pPr>
            <a:r>
              <a:rPr lang="zh-CN" altLang="en-US" sz="6000" dirty="0"/>
              <a:t>未来计划</a:t>
            </a:r>
            <a:endParaRPr lang="en-US" altLang="zh-CN" sz="6000" dirty="0"/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0D9B5269-7C16-46A8-5877-0BD5F04756F8}"/>
              </a:ext>
            </a:extLst>
          </p:cNvPr>
          <p:cNvSpPr txBox="1"/>
          <p:nvPr/>
        </p:nvSpPr>
        <p:spPr>
          <a:xfrm>
            <a:off x="4196392" y="240682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3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30768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370D1C25-75F8-C817-531A-2B4F72B62B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E3CDCAC1-600B-E3E1-8420-C3D863F5A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未来计划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0FFD5F3D-C8B6-102E-7E9B-608E54ACF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5455DA85-CFB5-AC23-D722-9B1BC8813EE2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BF756DC-3E66-D51E-76CF-8D5FEE963C0D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19312578-9DF7-4D10-BA1A-A0CDE72523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08" y="1578565"/>
            <a:ext cx="4433635" cy="3393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ï$ḻïḋê">
            <a:extLst>
              <a:ext uri="{FF2B5EF4-FFF2-40B4-BE49-F238E27FC236}">
                <a16:creationId xmlns:a16="http://schemas.microsoft.com/office/drawing/2014/main" id="{D87C1F5E-A77B-317F-36CF-426D12B3CD30}"/>
              </a:ext>
            </a:extLst>
          </p:cNvPr>
          <p:cNvSpPr txBox="1"/>
          <p:nvPr/>
        </p:nvSpPr>
        <p:spPr bwMode="auto">
          <a:xfrm>
            <a:off x="2043068" y="5481967"/>
            <a:ext cx="1824713" cy="574109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/>
              <a:t>组件化</a:t>
            </a:r>
            <a:endParaRPr lang="en-US" altLang="zh-CN" sz="24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6B88885-8F2A-CA63-12E2-C0EBFD1DD8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7154" y="2253205"/>
            <a:ext cx="6277404" cy="2581693"/>
          </a:xfrm>
          <a:prstGeom prst="rect">
            <a:avLst/>
          </a:prstGeom>
        </p:spPr>
      </p:pic>
      <p:sp>
        <p:nvSpPr>
          <p:cNvPr id="12" name="ï$ḻïḋê">
            <a:extLst>
              <a:ext uri="{FF2B5EF4-FFF2-40B4-BE49-F238E27FC236}">
                <a16:creationId xmlns:a16="http://schemas.microsoft.com/office/drawing/2014/main" id="{321A6FA9-C650-AB0D-7756-418E24BB63A9}"/>
              </a:ext>
            </a:extLst>
          </p:cNvPr>
          <p:cNvSpPr txBox="1"/>
          <p:nvPr/>
        </p:nvSpPr>
        <p:spPr bwMode="auto">
          <a:xfrm>
            <a:off x="7698242" y="5481968"/>
            <a:ext cx="2115229" cy="574109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/>
              <a:t>测试工作</a:t>
            </a:r>
            <a:endParaRPr lang="en-US" altLang="zh-CN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31216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şļîde">
          <a:extLst>
            <a:ext uri="{FF2B5EF4-FFF2-40B4-BE49-F238E27FC236}">
              <a16:creationId xmlns:a16="http://schemas.microsoft.com/office/drawing/2014/main" id="{0CE540B4-6C8E-9F5F-4ECA-90E67BB7AE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ļiḋê" hidden="1">
            <a:extLst>
              <a:ext uri="{FF2B5EF4-FFF2-40B4-BE49-F238E27FC236}">
                <a16:creationId xmlns:a16="http://schemas.microsoft.com/office/drawing/2014/main" id="{531D293A-8497-F676-0CAE-03C9677058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ṩļiḋ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ṣlíḋê" hidden="1">
            <a:extLst>
              <a:ext uri="{FF2B5EF4-FFF2-40B4-BE49-F238E27FC236}">
                <a16:creationId xmlns:a16="http://schemas.microsoft.com/office/drawing/2014/main" id="{9D9DDA87-E42F-CDA8-9091-E5A792DAF87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ṣḷîḑè">
            <a:extLst>
              <a:ext uri="{FF2B5EF4-FFF2-40B4-BE49-F238E27FC236}">
                <a16:creationId xmlns:a16="http://schemas.microsoft.com/office/drawing/2014/main" id="{C8293D45-0E73-1A47-3DFD-999B59CE58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15671" y="2038650"/>
            <a:ext cx="8108043" cy="871103"/>
          </a:xfrm>
        </p:spPr>
        <p:txBody>
          <a:bodyPr/>
          <a:lstStyle/>
          <a:p>
            <a:pPr algn="ctr" fontAlgn="b">
              <a:lnSpc>
                <a:spcPct val="100000"/>
              </a:lnSpc>
            </a:pPr>
            <a:r>
              <a:rPr lang="zh-CN" altLang="en-US" sz="4800" b="1" dirty="0"/>
              <a:t>感谢各位老师和同学聆听</a:t>
            </a:r>
            <a:br>
              <a:rPr lang="en-US" altLang="zh-CN" dirty="0"/>
            </a:br>
            <a:r>
              <a:rPr lang="zh-CN" altLang="en-US" sz="100" b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zh-CN" altLang="en-US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0A4878F-050E-1EDF-0E2F-7452FC0E8CB8}"/>
              </a:ext>
            </a:extLst>
          </p:cNvPr>
          <p:cNvSpPr/>
          <p:nvPr/>
        </p:nvSpPr>
        <p:spPr>
          <a:xfrm>
            <a:off x="353161" y="607787"/>
            <a:ext cx="489857" cy="86722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4A5365A-15FE-3094-D5F8-41A8FDE66203}"/>
              </a:ext>
            </a:extLst>
          </p:cNvPr>
          <p:cNvSpPr/>
          <p:nvPr/>
        </p:nvSpPr>
        <p:spPr>
          <a:xfrm>
            <a:off x="353161" y="1475015"/>
            <a:ext cx="489857" cy="430848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î$ḷide">
            <a:extLst>
              <a:ext uri="{FF2B5EF4-FFF2-40B4-BE49-F238E27FC236}">
                <a16:creationId xmlns:a16="http://schemas.microsoft.com/office/drawing/2014/main" id="{CFF7D628-1B58-DB1B-B0CA-8DB3AA19CCED}"/>
              </a:ext>
            </a:extLst>
          </p:cNvPr>
          <p:cNvSpPr/>
          <p:nvPr/>
        </p:nvSpPr>
        <p:spPr>
          <a:xfrm>
            <a:off x="0" y="612285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副标题 2">
            <a:extLst>
              <a:ext uri="{FF2B5EF4-FFF2-40B4-BE49-F238E27FC236}">
                <a16:creationId xmlns:a16="http://schemas.microsoft.com/office/drawing/2014/main" id="{FF2C1B72-FCF7-8E57-3132-CA7928C61803}"/>
              </a:ext>
            </a:extLst>
          </p:cNvPr>
          <p:cNvSpPr txBox="1">
            <a:spLocks/>
          </p:cNvSpPr>
          <p:nvPr/>
        </p:nvSpPr>
        <p:spPr>
          <a:xfrm>
            <a:off x="1221830" y="3125090"/>
            <a:ext cx="9748337" cy="134099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2000" kern="1200" cap="none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189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660874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lang="zh-CN" altLang="en-US" dirty="0">
                <a:solidFill>
                  <a:schemeClr val="accent1">
                    <a:lumMod val="50000"/>
                  </a:schemeClr>
                </a:solidFill>
                <a:latin typeface="Gill Sans MT" panose="020B0502020104020203"/>
                <a:ea typeface="华文中宋" panose="02010600040101010101" pitchFamily="2" charset="-122"/>
              </a:rPr>
              <a:t>杨长轲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      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660874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2025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年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05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24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Gill Sans MT" panose="020B0502020104020203"/>
                <a:ea typeface="华文中宋" panose="02010600040101010101" pitchFamily="2" charset="-122"/>
                <a:cs typeface="+mn-cs"/>
              </a:rPr>
              <a:t>日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Gill Sans MT" panose="020B0502020104020203"/>
              <a:ea typeface="华文中宋" panose="02010600040101010101" pitchFamily="2" charset="-122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5002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îṥḷî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ï$ḻïḋê">
            <a:extLst>
              <a:ext uri="{FF2B5EF4-FFF2-40B4-BE49-F238E27FC236}">
                <a16:creationId xmlns:a16="http://schemas.microsoft.com/office/drawing/2014/main" id="{E06CD773-8FCD-4DE3-934B-7A4909953A17}"/>
              </a:ext>
            </a:extLst>
          </p:cNvPr>
          <p:cNvSpPr txBox="1"/>
          <p:nvPr/>
        </p:nvSpPr>
        <p:spPr bwMode="auto">
          <a:xfrm>
            <a:off x="1362785" y="2535828"/>
            <a:ext cx="9259686" cy="2065018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80000"/>
              <a:buFont typeface="Wingdings" panose="05000000000000000000" pitchFamily="2" charset="2"/>
              <a:buChar char="n"/>
            </a:pPr>
            <a:r>
              <a:rPr lang="zh-CN" altLang="en-US" sz="3200" dirty="0"/>
              <a:t>项目介绍</a:t>
            </a:r>
            <a:endParaRPr lang="en-US" altLang="zh-CN" sz="3200" dirty="0"/>
          </a:p>
          <a:p>
            <a:pPr marL="457200" indent="-457200">
              <a:buSzPct val="80000"/>
              <a:buFont typeface="Wingdings" panose="05000000000000000000" pitchFamily="2" charset="2"/>
              <a:buChar char="n"/>
            </a:pPr>
            <a:r>
              <a:rPr lang="zh-CN" altLang="en-US" sz="3200" dirty="0"/>
              <a:t>研究工作</a:t>
            </a:r>
            <a:endParaRPr lang="en-US" altLang="zh-CN" sz="3200" dirty="0"/>
          </a:p>
          <a:p>
            <a:pPr marL="457200" indent="-457200">
              <a:buSzPct val="80000"/>
              <a:buFont typeface="Wingdings" panose="05000000000000000000" pitchFamily="2" charset="2"/>
              <a:buChar char="n"/>
            </a:pPr>
            <a:r>
              <a:rPr lang="zh-CN" altLang="en-US" sz="3200" dirty="0"/>
              <a:t>未来计划</a:t>
            </a:r>
            <a:endParaRPr lang="en-US" altLang="zh-CN" sz="3200" dirty="0"/>
          </a:p>
          <a:p>
            <a:pPr marL="457200" indent="-457200">
              <a:buFont typeface="Wingdings" panose="05000000000000000000" pitchFamily="2" charset="2"/>
              <a:buChar char="n"/>
            </a:pPr>
            <a:endParaRPr lang="en-US" altLang="zh-CN" sz="3200" dirty="0"/>
          </a:p>
          <a:p>
            <a:pPr marL="457200" indent="-457200">
              <a:buFont typeface="Wingdings" panose="05000000000000000000" pitchFamily="2" charset="2"/>
              <a:buChar char="n"/>
            </a:pPr>
            <a:endParaRPr lang="en-US" altLang="zh-CN" sz="3200" dirty="0"/>
          </a:p>
        </p:txBody>
      </p:sp>
      <p:sp>
        <p:nvSpPr>
          <p:cNvPr id="76" name="is1ïḍe">
            <a:extLst>
              <a:ext uri="{FF2B5EF4-FFF2-40B4-BE49-F238E27FC236}">
                <a16:creationId xmlns:a16="http://schemas.microsoft.com/office/drawing/2014/main" id="{4415A554-CCFC-4B73-BDC4-DAA8A2116EEE}"/>
              </a:ext>
            </a:extLst>
          </p:cNvPr>
          <p:cNvSpPr/>
          <p:nvPr/>
        </p:nvSpPr>
        <p:spPr>
          <a:xfrm>
            <a:off x="1156144" y="1220597"/>
            <a:ext cx="3940936" cy="672121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r>
              <a:rPr lang="zh-CN" altLang="en-US" sz="3600" b="1" kern="0" dirty="0">
                <a:ln w="6350">
                  <a:noFill/>
                </a:ln>
                <a:solidFill>
                  <a:schemeClr val="accent1"/>
                </a:solidFill>
                <a:ea typeface="微软雅黑" panose="020B0503020204020204" pitchFamily="34" charset="-122"/>
              </a:rPr>
              <a:t>目录</a:t>
            </a:r>
            <a:r>
              <a:rPr lang="en-US" altLang="zh-CN" sz="3600" b="1" kern="0" dirty="0">
                <a:ln w="6350">
                  <a:noFill/>
                </a:ln>
                <a:solidFill>
                  <a:schemeClr val="accent1"/>
                </a:solidFill>
                <a:ea typeface="微软雅黑" panose="020B0503020204020204" pitchFamily="34" charset="-122"/>
              </a:rPr>
              <a:t> </a:t>
            </a:r>
            <a:r>
              <a:rPr lang="zh-CN" altLang="en-US" sz="3600" b="1" dirty="0">
                <a:solidFill>
                  <a:schemeClr val="accent1"/>
                </a:solidFill>
              </a:rPr>
              <a:t>Con</a:t>
            </a:r>
            <a:r>
              <a:rPr lang="zh-CN" altLang="en-US" sz="100" b="1" dirty="0">
                <a:solidFill>
                  <a:schemeClr val="accent1"/>
                </a:solidFill>
              </a:rPr>
              <a:t> </a:t>
            </a:r>
            <a:r>
              <a:rPr lang="zh-CN" altLang="en-US" sz="3600" b="1" dirty="0">
                <a:solidFill>
                  <a:schemeClr val="accent1"/>
                </a:solidFill>
              </a:rPr>
              <a:t>tents</a:t>
            </a:r>
          </a:p>
        </p:txBody>
      </p:sp>
      <p:sp>
        <p:nvSpPr>
          <p:cNvPr id="3" name="î$ḷide">
            <a:extLst>
              <a:ext uri="{FF2B5EF4-FFF2-40B4-BE49-F238E27FC236}">
                <a16:creationId xmlns:a16="http://schemas.microsoft.com/office/drawing/2014/main" id="{F99566FB-AE5C-4E43-93BF-1236C997E9F3}"/>
              </a:ext>
            </a:extLst>
          </p:cNvPr>
          <p:cNvSpPr/>
          <p:nvPr/>
        </p:nvSpPr>
        <p:spPr>
          <a:xfrm>
            <a:off x="0" y="612285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C1EEBA30-D825-586C-B518-39561510A564}"/>
              </a:ext>
            </a:extLst>
          </p:cNvPr>
          <p:cNvSpPr/>
          <p:nvPr/>
        </p:nvSpPr>
        <p:spPr>
          <a:xfrm>
            <a:off x="272143" y="689430"/>
            <a:ext cx="489857" cy="86722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781D1A9D-83A9-9A38-3145-36768D35FCB6}"/>
              </a:ext>
            </a:extLst>
          </p:cNvPr>
          <p:cNvSpPr/>
          <p:nvPr/>
        </p:nvSpPr>
        <p:spPr>
          <a:xfrm>
            <a:off x="272143" y="1556658"/>
            <a:ext cx="489857" cy="430848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ľîḓê">
          <a:extLst>
            <a:ext uri="{FF2B5EF4-FFF2-40B4-BE49-F238E27FC236}">
              <a16:creationId xmlns:a16="http://schemas.microsoft.com/office/drawing/2014/main" id="{1DA65AC8-AD6C-BCC3-B8C8-892EADF665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>
            <a:extLst>
              <a:ext uri="{FF2B5EF4-FFF2-40B4-BE49-F238E27FC236}">
                <a16:creationId xmlns:a16="http://schemas.microsoft.com/office/drawing/2014/main" id="{5897C403-624A-5C4A-926F-B4432FDF9F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0259" y="2401381"/>
            <a:ext cx="3002222" cy="895350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>
              <a:buSzPct val="80000"/>
            </a:pPr>
            <a:r>
              <a:rPr lang="zh-CN" altLang="en-US" sz="6000" dirty="0"/>
              <a:t>项目介绍</a:t>
            </a:r>
            <a:endParaRPr lang="en-US" altLang="zh-CN" sz="6000" dirty="0"/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ED115CFA-0794-9596-B93F-1B0FF8A7F652}"/>
              </a:ext>
            </a:extLst>
          </p:cNvPr>
          <p:cNvSpPr txBox="1"/>
          <p:nvPr/>
        </p:nvSpPr>
        <p:spPr>
          <a:xfrm>
            <a:off x="4196392" y="240682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1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7153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9B0164AF-4246-4CD6-8CA3-F03179278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120035"/>
            <a:ext cx="10754517" cy="56394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嵌入式实时操作系统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7376D6FB-C707-4161-B4F8-DB384698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4BAE06EF-54AF-9C9E-DB20-1A74917D8EBD}"/>
              </a:ext>
            </a:extLst>
          </p:cNvPr>
          <p:cNvSpPr/>
          <p:nvPr/>
        </p:nvSpPr>
        <p:spPr>
          <a:xfrm>
            <a:off x="0" y="80463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6BDC20F-7201-0FA9-852E-C58C077C4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023" y="1376034"/>
            <a:ext cx="3933825" cy="1495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98FBA16-B14D-2C96-0D9D-16BF5B490F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463" y="3323700"/>
            <a:ext cx="2844943" cy="788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B47CBF64-587A-E87A-E3C9-027AB71269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09" y="4842712"/>
            <a:ext cx="5191125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VxWorks">
            <a:extLst>
              <a:ext uri="{FF2B5EF4-FFF2-40B4-BE49-F238E27FC236}">
                <a16:creationId xmlns:a16="http://schemas.microsoft.com/office/drawing/2014/main" id="{44D3FED0-04E9-73D7-97E0-80EA7DF76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4827" y="1472004"/>
            <a:ext cx="3898307" cy="909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ï$ḻïḋê">
            <a:extLst>
              <a:ext uri="{FF2B5EF4-FFF2-40B4-BE49-F238E27FC236}">
                <a16:creationId xmlns:a16="http://schemas.microsoft.com/office/drawing/2014/main" id="{888A95A3-8E6C-664A-D35E-735BD489B74C}"/>
              </a:ext>
            </a:extLst>
          </p:cNvPr>
          <p:cNvSpPr txBox="1"/>
          <p:nvPr/>
        </p:nvSpPr>
        <p:spPr bwMode="auto">
          <a:xfrm>
            <a:off x="6794673" y="4424119"/>
            <a:ext cx="3827524" cy="2110345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dirty="0"/>
              <a:t>高实时</a:t>
            </a:r>
            <a:endParaRPr lang="en-US" altLang="zh-CN" sz="28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dirty="0"/>
              <a:t>确定性</a:t>
            </a:r>
            <a:endParaRPr lang="en-US" altLang="zh-CN" sz="28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dirty="0"/>
              <a:t>轻量化</a:t>
            </a:r>
            <a:endParaRPr lang="en-US" altLang="zh-CN" sz="28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dirty="0"/>
              <a:t>低功耗</a:t>
            </a:r>
            <a:endParaRPr lang="en-US" altLang="zh-CN" sz="3600" dirty="0"/>
          </a:p>
          <a:p>
            <a:pPr marL="457200" indent="-457200">
              <a:buFont typeface="Wingdings" panose="05000000000000000000" pitchFamily="2" charset="2"/>
              <a:buChar char="n"/>
            </a:pPr>
            <a:endParaRPr lang="en-US" altLang="zh-CN" sz="3600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6FEA248-781F-EDB0-F7CF-27E44B631FF5}"/>
              </a:ext>
            </a:extLst>
          </p:cNvPr>
          <p:cNvSpPr/>
          <p:nvPr/>
        </p:nvSpPr>
        <p:spPr>
          <a:xfrm>
            <a:off x="347528" y="2710"/>
            <a:ext cx="56921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3A56FF50-7A47-69DC-EDCC-EF24622A2D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6969" y="3232165"/>
            <a:ext cx="571500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68327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047192CC-ABAE-9EBA-64A5-EEB7423B49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E63B3849-16CC-EB15-C0E0-C22C3B7D58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7582" y="4121898"/>
            <a:ext cx="1906734" cy="486684"/>
          </a:xfrm>
          <a:prstGeom prst="rect">
            <a:avLst/>
          </a:prstGeom>
        </p:spPr>
      </p:pic>
      <p:sp>
        <p:nvSpPr>
          <p:cNvPr id="2" name="i$ļïḋé">
            <a:extLst>
              <a:ext uri="{FF2B5EF4-FFF2-40B4-BE49-F238E27FC236}">
                <a16:creationId xmlns:a16="http://schemas.microsoft.com/office/drawing/2014/main" id="{1D2DD2F2-7854-D3FB-F3BF-AC93E94FF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57150"/>
            <a:ext cx="3467959" cy="624117"/>
          </a:xfrm>
        </p:spPr>
        <p:txBody>
          <a:bodyPr>
            <a:normAutofit/>
          </a:bodyPr>
          <a:lstStyle/>
          <a:p>
            <a:r>
              <a:rPr lang="en-US" altLang="zh-CN" sz="3200" dirty="0">
                <a:solidFill>
                  <a:schemeClr val="accent1">
                    <a:lumMod val="50000"/>
                  </a:schemeClr>
                </a:solidFill>
              </a:rPr>
              <a:t>Embassy</a:t>
            </a:r>
            <a:endParaRPr lang="zh-CN" altLang="en-US" sz="3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15B2E6EC-4B0A-3C76-7675-2C9CE43F1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9FC04D39-B07B-E7B3-2C58-BB7270A9F2C3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ï$ḻïḋê">
            <a:extLst>
              <a:ext uri="{FF2B5EF4-FFF2-40B4-BE49-F238E27FC236}">
                <a16:creationId xmlns:a16="http://schemas.microsoft.com/office/drawing/2014/main" id="{40CADB10-3DAF-F3F7-3BEA-2F1207FD5ED7}"/>
              </a:ext>
            </a:extLst>
          </p:cNvPr>
          <p:cNvSpPr txBox="1"/>
          <p:nvPr/>
        </p:nvSpPr>
        <p:spPr bwMode="auto">
          <a:xfrm>
            <a:off x="202751" y="4608582"/>
            <a:ext cx="3792595" cy="152615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/>
              <a:t>相对成熟的嵌入式生态</a:t>
            </a:r>
            <a:endParaRPr lang="en-US" altLang="zh-CN" sz="24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400" dirty="0"/>
              <a:t>async/await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/>
              <a:t>更好的性能</a:t>
            </a:r>
            <a:endParaRPr lang="en-US" altLang="zh-CN" sz="2400" dirty="0"/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/>
              <a:t>更小的内存占用</a:t>
            </a:r>
            <a:endParaRPr lang="en-US" altLang="zh-CN" sz="3200" dirty="0"/>
          </a:p>
          <a:p>
            <a:pPr marL="457200" indent="-457200">
              <a:buFont typeface="Wingdings" panose="05000000000000000000" pitchFamily="2" charset="2"/>
              <a:buChar char="n"/>
            </a:pPr>
            <a:endParaRPr lang="en-US" altLang="zh-CN" sz="3600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3FC072D-256E-03BC-85D8-40CD769D5D25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442148FA-67A2-5666-3623-E23671382F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352" y="1319956"/>
            <a:ext cx="8064754" cy="275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ï$ḻïḋê">
            <a:extLst>
              <a:ext uri="{FF2B5EF4-FFF2-40B4-BE49-F238E27FC236}">
                <a16:creationId xmlns:a16="http://schemas.microsoft.com/office/drawing/2014/main" id="{667DB6DB-2A4C-FF61-33E5-6BDF43AB81B8}"/>
              </a:ext>
            </a:extLst>
          </p:cNvPr>
          <p:cNvSpPr txBox="1"/>
          <p:nvPr/>
        </p:nvSpPr>
        <p:spPr bwMode="auto">
          <a:xfrm>
            <a:off x="4399930" y="4608582"/>
            <a:ext cx="3792595" cy="152615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优先级抢占机制差</a:t>
            </a:r>
            <a:endParaRPr lang="en-US" altLang="zh-CN" sz="24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实时性较差</a:t>
            </a:r>
            <a:endParaRPr lang="en-US" altLang="zh-CN" sz="24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050" name="Picture 2" descr="Executor model">
            <a:extLst>
              <a:ext uri="{FF2B5EF4-FFF2-40B4-BE49-F238E27FC236}">
                <a16:creationId xmlns:a16="http://schemas.microsoft.com/office/drawing/2014/main" id="{EFE05630-17F6-3C64-E237-1DB6E51DD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067" y="2863357"/>
            <a:ext cx="4593581" cy="3683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49893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15E81ADF-4B07-C6D1-8377-5EBEABC0F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1A3E15FB-8A5C-70F5-469F-4BECDB414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137157"/>
            <a:ext cx="4278834" cy="544110"/>
          </a:xfrm>
        </p:spPr>
        <p:txBody>
          <a:bodyPr>
            <a:normAutofit/>
          </a:bodyPr>
          <a:lstStyle/>
          <a:p>
            <a:r>
              <a:rPr lang="en-US" altLang="zh-CN" sz="3200" dirty="0">
                <a:solidFill>
                  <a:schemeClr val="accent1">
                    <a:lumMod val="50000"/>
                  </a:schemeClr>
                </a:solidFill>
              </a:rPr>
              <a:t>embassy-preempt</a:t>
            </a:r>
            <a:endParaRPr lang="zh-CN" altLang="en-US" sz="3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2C4ADC0C-14B4-D34C-0CC1-874E0D3FD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89D0D6D2-34D0-0FB4-E61A-74AD14DDC45C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362E9C1-1C72-876F-70A1-1DBA03854B8F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B6C1FFB-D133-31A8-5F59-DC231BDFE920}"/>
              </a:ext>
            </a:extLst>
          </p:cNvPr>
          <p:cNvSpPr txBox="1"/>
          <p:nvPr/>
        </p:nvSpPr>
        <p:spPr>
          <a:xfrm>
            <a:off x="401522" y="1809947"/>
            <a:ext cx="603222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异步任务可抢占式调度</a:t>
            </a:r>
            <a:endParaRPr lang="en-US" altLang="zh-CN" sz="2800" b="1" dirty="0">
              <a:latin typeface="Arial" panose="020B0604020202020204" pitchFamily="34" charset="0"/>
              <a:ea typeface="微软雅黑" panose="020B0503020204020204" pitchFamily="34" charset="-122"/>
              <a:cs typeface="+mn-ea"/>
            </a:endParaRPr>
          </a:p>
          <a:p>
            <a:pPr marL="742950" lvl="1">
              <a:buSzPct val="60000"/>
            </a:pP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融合</a:t>
            </a:r>
            <a:r>
              <a:rPr lang="en-US" altLang="zh-CN" sz="2400" b="1" dirty="0" err="1">
                <a:solidFill>
                  <a:schemeClr val="accent1">
                    <a:lumMod val="75000"/>
                  </a:schemeClr>
                </a:solidFill>
                <a:latin typeface="+mn-ea"/>
              </a:rPr>
              <a:t>uCOSII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位图优先级算法，实现可抢占、具有优先级的协程调度机制</a:t>
            </a:r>
            <a:endParaRPr lang="en-US" altLang="zh-CN" sz="2400" b="1" dirty="0">
              <a:solidFill>
                <a:schemeClr val="accent1">
                  <a:lumMod val="75000"/>
                </a:schemeClr>
              </a:solidFill>
              <a:latin typeface="+mn-ea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9E790F08-601F-07D9-CF8E-2150D77BA136}"/>
              </a:ext>
            </a:extLst>
          </p:cNvPr>
          <p:cNvSpPr txBox="1"/>
          <p:nvPr/>
        </p:nvSpPr>
        <p:spPr>
          <a:xfrm>
            <a:off x="401522" y="3494395"/>
            <a:ext cx="603222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较高的空间利用率</a:t>
            </a:r>
          </a:p>
          <a:p>
            <a:pPr marL="742950" lvl="1">
              <a:buSzPct val="60000"/>
            </a:pP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借助协程机制提供的栈复用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A804361-79B9-D2CD-BF9D-D90D95F8551C}"/>
              </a:ext>
            </a:extLst>
          </p:cNvPr>
          <p:cNvSpPr txBox="1"/>
          <p:nvPr/>
        </p:nvSpPr>
        <p:spPr>
          <a:xfrm>
            <a:off x="401522" y="5032152"/>
            <a:ext cx="603222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en-US" altLang="zh-CN" sz="2800" b="1" dirty="0" err="1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FFI</a:t>
            </a:r>
            <a:r>
              <a: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</a:rPr>
              <a:t>接口</a:t>
            </a:r>
          </a:p>
          <a:p>
            <a:pPr marL="742950" lvl="1">
              <a:buSzPct val="60000"/>
            </a:pP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向外暴露与</a:t>
            </a:r>
            <a:r>
              <a:rPr lang="en-US" altLang="zh-CN" sz="2400" b="1" dirty="0" err="1">
                <a:solidFill>
                  <a:schemeClr val="accent1">
                    <a:lumMod val="75000"/>
                  </a:schemeClr>
                </a:solidFill>
                <a:latin typeface="+mn-ea"/>
              </a:rPr>
              <a:t>uCOSII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相同的</a:t>
            </a:r>
            <a:r>
              <a:rPr lang="en-US" altLang="zh-CN" sz="2400" b="1" dirty="0" err="1">
                <a:solidFill>
                  <a:schemeClr val="accent1">
                    <a:lumMod val="75000"/>
                  </a:schemeClr>
                </a:solidFill>
                <a:latin typeface="+mn-ea"/>
              </a:rPr>
              <a:t>FFI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接口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3544BA6A-73DC-00E9-2F01-D2F07920D1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7715" y="1809947"/>
            <a:ext cx="3370371" cy="397598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93820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020E63C4-E955-A6CB-50A9-0AA81BEF6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85331A72-302D-B6D4-C554-8525C073A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62041"/>
            <a:ext cx="4278834" cy="619226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整体框架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DA64B3C2-B909-B6EF-6D17-3A75A04D5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12DBEF21-D98E-8145-4087-CFACC9B4E720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85743DD-8016-69E9-F208-75642BF92FBA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1A5A8CBF-79C0-F222-81E2-608F4523C1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110" y="1218664"/>
            <a:ext cx="10003779" cy="51107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623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C44A093B-6492-8700-ED2D-38D2FC175D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DA8894C7-50FE-83B2-0A57-15C16BCE6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91435"/>
            <a:ext cx="4278834" cy="589831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solidFill>
                  <a:schemeClr val="accent1">
                    <a:lumMod val="50000"/>
                  </a:schemeClr>
                </a:solidFill>
              </a:rPr>
              <a:t>流程图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5B02A1DA-8557-BE0B-EE87-3B66C2DF0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D694914A-1631-E480-32A7-BA21B24B6DC8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6C1816D-D3B3-AFCD-D195-D038796370D1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5EC7C90B-1DA4-35E1-B920-9222BB24A0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8178" y="1114035"/>
            <a:ext cx="7574788" cy="55727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7D5D42C-E5E0-50F4-F497-603CBBBB57AB}"/>
              </a:ext>
            </a:extLst>
          </p:cNvPr>
          <p:cNvSpPr txBox="1"/>
          <p:nvPr/>
        </p:nvSpPr>
        <p:spPr>
          <a:xfrm>
            <a:off x="421469" y="3910061"/>
            <a:ext cx="20116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没有任务抢占的</a:t>
            </a:r>
            <a:r>
              <a:rPr lang="en-US" altLang="zh-CN" sz="1400" b="1" dirty="0">
                <a:latin typeface="+mn-ea"/>
              </a:rPr>
              <a:t>POLL</a:t>
            </a:r>
            <a:r>
              <a:rPr lang="zh-CN" altLang="en-US" sz="1400" b="1" dirty="0">
                <a:latin typeface="+mn-ea"/>
              </a:rPr>
              <a:t>，会一直</a:t>
            </a:r>
            <a:r>
              <a:rPr lang="en-US" altLang="zh-CN" sz="1400" b="1" dirty="0">
                <a:latin typeface="+mn-ea"/>
              </a:rPr>
              <a:t>poll</a:t>
            </a:r>
            <a:r>
              <a:rPr lang="zh-CN" altLang="en-US" sz="1400" b="1" dirty="0">
                <a:latin typeface="+mn-ea"/>
              </a:rPr>
              <a:t>最高优先级任务执行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E6C6B30-AB72-BEC4-E480-5D6C17B722B2}"/>
              </a:ext>
            </a:extLst>
          </p:cNvPr>
          <p:cNvSpPr txBox="1"/>
          <p:nvPr/>
        </p:nvSpPr>
        <p:spPr>
          <a:xfrm>
            <a:off x="421469" y="5147593"/>
            <a:ext cx="2011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执行异步任务的</a:t>
            </a:r>
            <a:r>
              <a:rPr lang="en-US" altLang="zh-CN" sz="1400" b="1" dirty="0">
                <a:latin typeface="+mn-ea"/>
              </a:rPr>
              <a:t>poll</a:t>
            </a:r>
            <a:r>
              <a:rPr lang="zh-CN" altLang="en-US" sz="1400" b="1" dirty="0">
                <a:latin typeface="+mn-ea"/>
              </a:rPr>
              <a:t>方法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E3B21DFD-D6BF-FF94-2E8E-2F44F9DEC7B5}"/>
              </a:ext>
            </a:extLst>
          </p:cNvPr>
          <p:cNvSpPr txBox="1"/>
          <p:nvPr/>
        </p:nvSpPr>
        <p:spPr>
          <a:xfrm>
            <a:off x="247070" y="2298462"/>
            <a:ext cx="20694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创建任务，完成</a:t>
            </a:r>
            <a:r>
              <a:rPr lang="en-US" altLang="zh-CN" sz="1400" b="1" dirty="0" err="1">
                <a:latin typeface="+mn-ea"/>
              </a:rPr>
              <a:t>TCB</a:t>
            </a:r>
            <a:r>
              <a:rPr lang="zh-CN" altLang="en-US" sz="1400" b="1" dirty="0">
                <a:latin typeface="+mn-ea"/>
              </a:rPr>
              <a:t>的初始化</a:t>
            </a: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1A306423-9289-81B1-48F0-461F462ACC98}"/>
              </a:ext>
            </a:extLst>
          </p:cNvPr>
          <p:cNvCxnSpPr>
            <a:cxnSpLocks/>
          </p:cNvCxnSpPr>
          <p:nvPr/>
        </p:nvCxnSpPr>
        <p:spPr>
          <a:xfrm>
            <a:off x="2128121" y="2479982"/>
            <a:ext cx="610057" cy="986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2005F64B-CC1C-FBEE-FC59-F87821A38E8A}"/>
              </a:ext>
            </a:extLst>
          </p:cNvPr>
          <p:cNvCxnSpPr>
            <a:cxnSpLocks/>
          </p:cNvCxnSpPr>
          <p:nvPr/>
        </p:nvCxnSpPr>
        <p:spPr>
          <a:xfrm>
            <a:off x="2371344" y="4206240"/>
            <a:ext cx="441111" cy="731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D0918589-3E12-534F-3135-001C8AF14B0A}"/>
              </a:ext>
            </a:extLst>
          </p:cNvPr>
          <p:cNvCxnSpPr>
            <a:cxnSpLocks/>
          </p:cNvCxnSpPr>
          <p:nvPr/>
        </p:nvCxnSpPr>
        <p:spPr>
          <a:xfrm flipV="1">
            <a:off x="2316480" y="5149412"/>
            <a:ext cx="495975" cy="565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5498879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ïS1iḋè">
          <a:extLst>
            <a:ext uri="{FF2B5EF4-FFF2-40B4-BE49-F238E27FC236}">
              <a16:creationId xmlns:a16="http://schemas.microsoft.com/office/drawing/2014/main" id="{CFC9DF33-B61C-EA1A-D98B-898246CE2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B7F9119D-4820-2FA5-F8AC-81BD0CB8C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61" y="72191"/>
            <a:ext cx="4278834" cy="609075"/>
          </a:xfrm>
        </p:spPr>
        <p:txBody>
          <a:bodyPr>
            <a:normAutofit/>
          </a:bodyPr>
          <a:lstStyle/>
          <a:p>
            <a:r>
              <a:rPr lang="en-US" altLang="zh-CN" sz="3200" dirty="0">
                <a:solidFill>
                  <a:schemeClr val="accent1">
                    <a:lumMod val="50000"/>
                  </a:schemeClr>
                </a:solidFill>
              </a:rPr>
              <a:t>Interrupt poll</a:t>
            </a:r>
            <a:endParaRPr lang="zh-CN" altLang="en-US" sz="3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D78F3150-46F5-FBF9-689F-D290B4F2B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6" name="î$ḷide">
            <a:extLst>
              <a:ext uri="{FF2B5EF4-FFF2-40B4-BE49-F238E27FC236}">
                <a16:creationId xmlns:a16="http://schemas.microsoft.com/office/drawing/2014/main" id="{E9E36C30-D392-3AED-D8DC-D18656F2EBEC}"/>
              </a:ext>
            </a:extLst>
          </p:cNvPr>
          <p:cNvSpPr/>
          <p:nvPr/>
        </p:nvSpPr>
        <p:spPr>
          <a:xfrm>
            <a:off x="0" y="801922"/>
            <a:ext cx="12192000" cy="4571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6D525E4-1AE5-E6BB-CD4A-D9B8CE4AB4F7}"/>
              </a:ext>
            </a:extLst>
          </p:cNvPr>
          <p:cNvSpPr/>
          <p:nvPr/>
        </p:nvSpPr>
        <p:spPr>
          <a:xfrm>
            <a:off x="347528" y="0"/>
            <a:ext cx="48684" cy="8128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976DDBE-BC98-3171-1A36-E38809B4C6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595" y="1045935"/>
            <a:ext cx="7158022" cy="5509693"/>
          </a:xfrm>
          <a:prstGeom prst="rect">
            <a:avLst/>
          </a:prstGeom>
        </p:spPr>
      </p:pic>
      <p:sp>
        <p:nvSpPr>
          <p:cNvPr id="20" name="文本框 19">
            <a:extLst>
              <a:ext uri="{FF2B5EF4-FFF2-40B4-BE49-F238E27FC236}">
                <a16:creationId xmlns:a16="http://schemas.microsoft.com/office/drawing/2014/main" id="{A496D2FA-74A8-9F0A-1725-E6B2CF7C639C}"/>
              </a:ext>
            </a:extLst>
          </p:cNvPr>
          <p:cNvSpPr txBox="1"/>
          <p:nvPr/>
        </p:nvSpPr>
        <p:spPr>
          <a:xfrm>
            <a:off x="598761" y="2692707"/>
            <a:ext cx="3948746" cy="286232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 rtlCol="0">
            <a:spAutoFit/>
          </a:bodyPr>
          <a:lstStyle/>
          <a:p>
            <a:r>
              <a:rPr lang="en-US" altLang="zh-CN" dirty="0">
                <a:latin typeface="+mn-ea"/>
              </a:rPr>
              <a:t>      </a:t>
            </a:r>
            <a:r>
              <a:rPr lang="zh-CN" altLang="en-US" dirty="0">
                <a:latin typeface="+mn-ea"/>
              </a:rPr>
              <a:t>中断</a:t>
            </a:r>
            <a:r>
              <a:rPr lang="en-US" altLang="zh-CN" dirty="0">
                <a:latin typeface="+mn-ea"/>
              </a:rPr>
              <a:t>POLL</a:t>
            </a:r>
            <a:r>
              <a:rPr lang="zh-CN" altLang="en-US" dirty="0">
                <a:latin typeface="+mn-ea"/>
              </a:rPr>
              <a:t>函数会进行抢占式的任务调度，对于没有栈的最高优先级任务，它的调度执行我们会进行模拟压栈，让其变成一个有栈的任务，从而做到栈的分配。</a:t>
            </a:r>
            <a:endParaRPr lang="en-US" altLang="zh-CN" dirty="0">
              <a:latin typeface="+mn-ea"/>
            </a:endParaRPr>
          </a:p>
          <a:p>
            <a:r>
              <a:rPr lang="en-US" altLang="zh-CN" dirty="0">
                <a:latin typeface="+mn-ea"/>
              </a:rPr>
              <a:t>      </a:t>
            </a:r>
            <a:r>
              <a:rPr lang="zh-CN" altLang="en-US" dirty="0">
                <a:latin typeface="+mn-ea"/>
              </a:rPr>
              <a:t>然后会开始同一个的任务切换操作，这个操作被放置在</a:t>
            </a:r>
            <a:r>
              <a:rPr lang="en-US" altLang="zh-CN" dirty="0" err="1">
                <a:latin typeface="+mn-ea"/>
              </a:rPr>
              <a:t>PenSV</a:t>
            </a:r>
            <a:r>
              <a:rPr lang="zh-CN" altLang="en-US" dirty="0">
                <a:latin typeface="+mn-ea"/>
              </a:rPr>
              <a:t>可悬挂软中断里面，这是因为需要及时满足其它中断的需求，最后结束其它中断处理后才进行统一的任务切换处理。</a:t>
            </a:r>
          </a:p>
        </p:txBody>
      </p:sp>
      <p:sp>
        <p:nvSpPr>
          <p:cNvPr id="23" name="ï$ḻïḋê">
            <a:extLst>
              <a:ext uri="{FF2B5EF4-FFF2-40B4-BE49-F238E27FC236}">
                <a16:creationId xmlns:a16="http://schemas.microsoft.com/office/drawing/2014/main" id="{573D76CC-6112-482F-DDA7-7A01625156A1}"/>
              </a:ext>
            </a:extLst>
          </p:cNvPr>
          <p:cNvSpPr txBox="1"/>
          <p:nvPr/>
        </p:nvSpPr>
        <p:spPr bwMode="auto">
          <a:xfrm>
            <a:off x="156383" y="1614737"/>
            <a:ext cx="4301317" cy="747423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r>
              <a:rPr lang="zh-CN" altLang="en-US" sz="2000" dirty="0"/>
              <a:t>发生中断时进行任务时需要抢占调度的</a:t>
            </a:r>
            <a:r>
              <a:rPr lang="en-US" altLang="zh-CN" sz="2000" dirty="0"/>
              <a:t>interrupt poll</a:t>
            </a:r>
          </a:p>
          <a:p>
            <a:pPr marL="457200" indent="-457200">
              <a:buSzPct val="60000"/>
              <a:buFont typeface="Wingdings" panose="05000000000000000000" pitchFamily="2" charset="2"/>
              <a:buChar char="n"/>
            </a:pPr>
            <a:endParaRPr lang="en-US" altLang="zh-CN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7977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#186263;#186176;#186235;"/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#186263;#186176;#186235;"/>
  <p:tag name="ISLIDE.TEMPLAT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003478"/>
      </a:accent1>
      <a:accent2>
        <a:srgbClr val="F08300"/>
      </a:accent2>
      <a:accent3>
        <a:srgbClr val="5063F8"/>
      </a:accent3>
      <a:accent4>
        <a:srgbClr val="AFBBCF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1846</TotalTime>
  <Words>615</Words>
  <Application>Microsoft Office PowerPoint</Application>
  <PresentationFormat>宽屏</PresentationFormat>
  <Paragraphs>87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9" baseType="lpstr">
      <vt:lpstr>等线</vt:lpstr>
      <vt:lpstr>微软雅黑</vt:lpstr>
      <vt:lpstr>微软雅黑</vt:lpstr>
      <vt:lpstr>Arial</vt:lpstr>
      <vt:lpstr>Calibri</vt:lpstr>
      <vt:lpstr>Gill Sans MT</vt:lpstr>
      <vt:lpstr>Impact</vt:lpstr>
      <vt:lpstr>Wingdings</vt:lpstr>
      <vt:lpstr>Wingdings 2</vt:lpstr>
      <vt:lpstr>主题5</vt:lpstr>
      <vt:lpstr>think-cell Slide</vt:lpstr>
      <vt:lpstr>基于Rust异步机制的嵌入式操作系统调度模块embassy_preempt  </vt:lpstr>
      <vt:lpstr>PowerPoint 演示文稿</vt:lpstr>
      <vt:lpstr>项目介绍</vt:lpstr>
      <vt:lpstr>嵌入式实时操作系统</vt:lpstr>
      <vt:lpstr>Embassy</vt:lpstr>
      <vt:lpstr>embassy-preempt</vt:lpstr>
      <vt:lpstr>整体框架</vt:lpstr>
      <vt:lpstr>流程图</vt:lpstr>
      <vt:lpstr>Interrupt poll</vt:lpstr>
      <vt:lpstr>PenSV异常中断</vt:lpstr>
      <vt:lpstr>时钟</vt:lpstr>
      <vt:lpstr>测试</vt:lpstr>
      <vt:lpstr>个人工作</vt:lpstr>
      <vt:lpstr>底层函数</vt:lpstr>
      <vt:lpstr>组件化</vt:lpstr>
      <vt:lpstr>未来计划</vt:lpstr>
      <vt:lpstr>未来计划</vt:lpstr>
      <vt:lpstr>感谢各位老师和同学聆听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菠萝煮茶</dc:creator>
  <cp:lastModifiedBy>长轲 杨</cp:lastModifiedBy>
  <cp:revision>54</cp:revision>
  <cp:lastPrinted>2020-09-09T16:00:00Z</cp:lastPrinted>
  <dcterms:created xsi:type="dcterms:W3CDTF">2020-09-09T16:00:00Z</dcterms:created>
  <dcterms:modified xsi:type="dcterms:W3CDTF">2025-05-24T04:4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ae1d0774-2377-4227-bc40-ee4b41b4477b</vt:lpwstr>
  </property>
</Properties>
</file>